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</p:sldMasterIdLst>
  <p:notesMasterIdLst>
    <p:notesMasterId r:id="rId10"/>
  </p:notesMasterIdLst>
  <p:sldIdLst>
    <p:sldId id="279" r:id="rId5"/>
    <p:sldId id="2147477854" r:id="rId6"/>
    <p:sldId id="2147477890" r:id="rId7"/>
    <p:sldId id="2147477888" r:id="rId8"/>
    <p:sldId id="2147477887" r:id="rId9"/>
  </p:sldIdLst>
  <p:sldSz cx="12192000" cy="6858000"/>
  <p:notesSz cx="6858000" cy="9144000"/>
  <p:defaultTextStyle>
    <a:defPPr>
      <a:defRPr kern="0"/>
    </a:defPPr>
  </p:defaultTextStyle>
  <p:extLst>
    <p:ext uri="{521415D9-36F7-43E2-AB2F-B90AF26B5E84}">
      <p14:sectionLst xmlns:p14="http://schemas.microsoft.com/office/powerpoint/2010/main">
        <p14:section name="Default Section" id="{FAAFE951-A3E2-487B-BAE1-00590A066FE6}">
          <p14:sldIdLst>
            <p14:sldId id="279"/>
            <p14:sldId id="2147477854"/>
            <p14:sldId id="2147477890"/>
            <p14:sldId id="2147477888"/>
            <p14:sldId id="2147477887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352"/>
    <p:restoredTop sz="67378"/>
  </p:normalViewPr>
  <p:slideViewPr>
    <p:cSldViewPr snapToGrid="0">
      <p:cViewPr varScale="1">
        <p:scale>
          <a:sx n="74" d="100"/>
          <a:sy n="74" d="100"/>
        </p:scale>
        <p:origin x="1920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6" d="100"/>
          <a:sy n="86" d="100"/>
        </p:scale>
        <p:origin x="3928" y="20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presProps" Target="presProps.xml"/><Relationship Id="rId5" Type="http://schemas.openxmlformats.org/officeDocument/2006/relationships/slide" Target="slides/slide1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7E6F524-55B2-5F4B-8DA7-030E8C831316}" type="datetimeFigureOut">
              <a:rPr lang="en-US" smtClean="0"/>
              <a:t>4/29/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67F3777-3D63-994A-BDE7-6E854AA3A51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88382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53988"/>
            <a:ext cx="3270250" cy="18399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85800" y="2100836"/>
            <a:ext cx="5486400" cy="360045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7F3777-3D63-994A-BDE7-6E854AA3A519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774057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7F3777-3D63-994A-BDE7-6E854AA3A519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705913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7F3777-3D63-994A-BDE7-6E854AA3A519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345479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7F3777-3D63-994A-BDE7-6E854AA3A519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045290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7F3777-3D63-994A-BDE7-6E854AA3A519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59564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5" Type="http://schemas.openxmlformats.org/officeDocument/2006/relationships/image" Target="../media/image4.png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5.png"/><Relationship Id="rId4" Type="http://schemas.openxmlformats.org/officeDocument/2006/relationships/image" Target="../media/image2.emf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ag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E14E997D-8F80-152C-9C39-62F12FC880D3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604021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14E997D-8F80-152C-9C39-62F12FC880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C060806B-5727-D5BD-2C78-B8DE57B82A1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3A2CBEE-FE20-6ECC-8F04-4543C75B6A3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11822" y="4860629"/>
            <a:ext cx="5321300" cy="613739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pPr marL="7701">
              <a:spcBef>
                <a:spcPts val="60"/>
              </a:spcBef>
            </a:pPr>
            <a:r>
              <a:rPr lang="en-GB" sz="2400">
                <a:solidFill>
                  <a:srgbClr val="FFFFFF"/>
                </a:solidFill>
                <a:latin typeface="Wix Madefor Text"/>
                <a:cs typeface="Wix Madefor Text"/>
              </a:rPr>
              <a:t>Presentation</a:t>
            </a:r>
            <a:r>
              <a:rPr lang="en-GB" sz="2400" spc="-181">
                <a:solidFill>
                  <a:srgbClr val="FFFFFF"/>
                </a:solidFill>
                <a:latin typeface="Wix Madefor Text"/>
                <a:cs typeface="Wix Madefor Text"/>
              </a:rPr>
              <a:t> </a:t>
            </a:r>
            <a:r>
              <a:rPr lang="en-GB" sz="2400" spc="27">
                <a:solidFill>
                  <a:srgbClr val="FFFFFF"/>
                </a:solidFill>
                <a:latin typeface="Wix Madefor Text"/>
                <a:cs typeface="Wix Madefor Text"/>
              </a:rPr>
              <a:t>Title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FBFC3DBE-4261-D2DB-70C5-03E99DE8AA6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711822" y="5771018"/>
            <a:ext cx="5321300" cy="613739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pPr marL="7701">
              <a:spcBef>
                <a:spcPts val="60"/>
              </a:spcBef>
            </a:pPr>
            <a:r>
              <a:rPr lang="en-GB" sz="2400">
                <a:solidFill>
                  <a:srgbClr val="FFFFFF"/>
                </a:solidFill>
                <a:latin typeface="Wix Madefor Text"/>
                <a:cs typeface="Wix Madefor Text"/>
              </a:rPr>
              <a:t>Date</a:t>
            </a:r>
            <a:endParaRPr lang="en-GB" sz="2400" spc="27">
              <a:solidFill>
                <a:srgbClr val="FFFFFF"/>
              </a:solidFill>
              <a:latin typeface="Wix Madefor Text"/>
              <a:cs typeface="Wix Madefor Text"/>
            </a:endParaRPr>
          </a:p>
        </p:txBody>
      </p:sp>
    </p:spTree>
    <p:extLst>
      <p:ext uri="{BB962C8B-B14F-4D97-AF65-F5344CB8AC3E}">
        <p14:creationId xmlns:p14="http://schemas.microsoft.com/office/powerpoint/2010/main" val="10245426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x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846202" y="1361507"/>
            <a:ext cx="10228199" cy="4912293"/>
          </a:xfrm>
          <a:prstGeom prst="rect">
            <a:avLst/>
          </a:prstGeom>
        </p:spPr>
        <p:txBody>
          <a:bodyPr lIns="0" tIns="0" rIns="0" bIns="0"/>
          <a:lstStyle>
            <a:lvl1pPr>
              <a:defRPr sz="2487" b="0" i="0">
                <a:solidFill>
                  <a:schemeClr val="tx1"/>
                </a:solidFill>
                <a:latin typeface="Wix Madefor Text"/>
                <a:cs typeface="Wix Madefor Text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3BD1D9DC-F65C-B02F-E256-BFFB4E5AD5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79400"/>
            <a:ext cx="8204200" cy="52281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31060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points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7698AAB-ECA1-4EDE-E379-28A4A5D080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79400"/>
            <a:ext cx="8204200" cy="52281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1" name="object 2">
            <a:extLst>
              <a:ext uri="{FF2B5EF4-FFF2-40B4-BE49-F238E27FC236}">
                <a16:creationId xmlns:a16="http://schemas.microsoft.com/office/drawing/2014/main" id="{BACBD218-12C3-3BCD-5BF5-A9A4DFF42AC8}"/>
              </a:ext>
            </a:extLst>
          </p:cNvPr>
          <p:cNvSpPr txBox="1">
            <a:spLocks noGrp="1"/>
          </p:cNvSpPr>
          <p:nvPr>
            <p:ph sz="half" idx="10" hasCustomPrompt="1"/>
          </p:nvPr>
        </p:nvSpPr>
        <p:spPr>
          <a:xfrm>
            <a:off x="838908" y="1892829"/>
            <a:ext cx="5159725" cy="1443034"/>
          </a:xfrm>
          <a:prstGeom prst="rect">
            <a:avLst/>
          </a:prstGeom>
        </p:spPr>
        <p:txBody>
          <a:bodyPr vert="horz" wrap="square" lIns="0" tIns="6932" rIns="0" bIns="0" rtlCol="0">
            <a:spAutoFit/>
          </a:bodyPr>
          <a:lstStyle>
            <a:lvl1pPr marL="30038" marR="3080">
              <a:lnSpc>
                <a:spcPct val="91500"/>
              </a:lnSpc>
              <a:spcBef>
                <a:spcPts val="269"/>
              </a:spcBef>
              <a:buFont typeface="Arial" panose="020B0604020202020204" pitchFamily="34" charset="0"/>
              <a:buChar char="•"/>
              <a:defRPr sz="2400" b="0">
                <a:latin typeface="Wix Madefor Text" panose="020B0503020203020203" pitchFamily="34" charset="77"/>
                <a:cs typeface="Wix Madefor Text" panose="020B0503020203020203" pitchFamily="34" charset="77"/>
              </a:defRPr>
            </a:lvl1pPr>
          </a:lstStyle>
          <a:p>
            <a:pPr marL="22529" marR="2310">
              <a:lnSpc>
                <a:spcPct val="91500"/>
              </a:lnSpc>
              <a:spcBef>
                <a:spcPts val="202"/>
              </a:spcBef>
            </a:pPr>
            <a:r>
              <a:rPr lang="en-GB" spc="-15"/>
              <a:t>Item 1</a:t>
            </a:r>
          </a:p>
          <a:p>
            <a:pPr marL="22529" marR="2310">
              <a:lnSpc>
                <a:spcPct val="91500"/>
              </a:lnSpc>
              <a:spcBef>
                <a:spcPts val="202"/>
              </a:spcBef>
            </a:pPr>
            <a:r>
              <a:rPr lang="en-GB" spc="-15"/>
              <a:t>Item 2</a:t>
            </a:r>
          </a:p>
          <a:p>
            <a:pPr marL="22529" marR="2310">
              <a:lnSpc>
                <a:spcPct val="91500"/>
              </a:lnSpc>
              <a:spcBef>
                <a:spcPts val="202"/>
              </a:spcBef>
            </a:pPr>
            <a:endParaRPr lang="en-GB" spc="-15"/>
          </a:p>
          <a:p>
            <a:pPr marL="22529" marR="2310">
              <a:lnSpc>
                <a:spcPct val="91500"/>
              </a:lnSpc>
              <a:spcBef>
                <a:spcPts val="202"/>
              </a:spcBef>
            </a:pPr>
            <a:endParaRPr spc="-7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F343C227-418C-B65D-1083-8D80746C286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8201" y="1350434"/>
            <a:ext cx="5160433" cy="44661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GB"/>
              <a:t>Subheading</a:t>
            </a:r>
            <a:endParaRPr lang="en-US"/>
          </a:p>
        </p:txBody>
      </p:sp>
      <p:sp>
        <p:nvSpPr>
          <p:cNvPr id="14" name="object 2">
            <a:extLst>
              <a:ext uri="{FF2B5EF4-FFF2-40B4-BE49-F238E27FC236}">
                <a16:creationId xmlns:a16="http://schemas.microsoft.com/office/drawing/2014/main" id="{929AC8E4-F390-530B-DB94-EC3F7107D727}"/>
              </a:ext>
            </a:extLst>
          </p:cNvPr>
          <p:cNvSpPr txBox="1">
            <a:spLocks noGrp="1"/>
          </p:cNvSpPr>
          <p:nvPr>
            <p:ph sz="half" idx="12" hasCustomPrompt="1"/>
          </p:nvPr>
        </p:nvSpPr>
        <p:spPr>
          <a:xfrm>
            <a:off x="6193370" y="1892830"/>
            <a:ext cx="5159725" cy="712193"/>
          </a:xfrm>
          <a:prstGeom prst="rect">
            <a:avLst/>
          </a:prstGeom>
        </p:spPr>
        <p:txBody>
          <a:bodyPr vert="horz" wrap="square" lIns="0" tIns="6932" rIns="0" bIns="0" rtlCol="0">
            <a:spAutoFit/>
          </a:bodyPr>
          <a:lstStyle>
            <a:lvl1pPr marL="30038" marR="3080">
              <a:lnSpc>
                <a:spcPct val="91500"/>
              </a:lnSpc>
              <a:spcBef>
                <a:spcPts val="269"/>
              </a:spcBef>
              <a:buFont typeface="Arial" panose="020B0604020202020204" pitchFamily="34" charset="0"/>
              <a:buNone/>
              <a:defRPr sz="2400" b="0">
                <a:latin typeface="Wix Madefor Text" panose="020B0503020203020203" pitchFamily="34" charset="77"/>
                <a:cs typeface="Wix Madefor Text" panose="020B0503020203020203" pitchFamily="34" charset="77"/>
              </a:defRPr>
            </a:lvl1pPr>
          </a:lstStyle>
          <a:p>
            <a:pPr marL="22529" marR="2310">
              <a:lnSpc>
                <a:spcPct val="91500"/>
              </a:lnSpc>
              <a:spcBef>
                <a:spcPts val="202"/>
              </a:spcBef>
            </a:pPr>
            <a:r>
              <a:rPr lang="en-GB" spc="-15"/>
              <a:t>Click to add text</a:t>
            </a:r>
          </a:p>
          <a:p>
            <a:pPr marL="22529" marR="2310">
              <a:lnSpc>
                <a:spcPct val="91500"/>
              </a:lnSpc>
              <a:spcBef>
                <a:spcPts val="202"/>
              </a:spcBef>
            </a:pPr>
            <a:endParaRPr spc="-7"/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7E788168-78B3-68DB-0894-0E0E8723DFB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92662" y="1350434"/>
            <a:ext cx="5160433" cy="44661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GB"/>
              <a:t>Subheading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49399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points 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2F099FB-BD88-8197-4B43-9CA04CD15D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79400"/>
            <a:ext cx="8204200" cy="52281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6" name="object 2">
            <a:extLst>
              <a:ext uri="{FF2B5EF4-FFF2-40B4-BE49-F238E27FC236}">
                <a16:creationId xmlns:a16="http://schemas.microsoft.com/office/drawing/2014/main" id="{A229EB8C-8645-DF0D-A349-FF7041A86843}"/>
              </a:ext>
            </a:extLst>
          </p:cNvPr>
          <p:cNvSpPr txBox="1">
            <a:spLocks noGrp="1"/>
          </p:cNvSpPr>
          <p:nvPr>
            <p:ph sz="half" idx="10" hasCustomPrompt="1"/>
          </p:nvPr>
        </p:nvSpPr>
        <p:spPr>
          <a:xfrm>
            <a:off x="838908" y="1892829"/>
            <a:ext cx="5159725" cy="1443034"/>
          </a:xfrm>
          <a:prstGeom prst="rect">
            <a:avLst/>
          </a:prstGeom>
        </p:spPr>
        <p:txBody>
          <a:bodyPr vert="horz" wrap="square" lIns="0" tIns="6932" rIns="0" bIns="0" rtlCol="0">
            <a:spAutoFit/>
          </a:bodyPr>
          <a:lstStyle>
            <a:lvl1pPr marL="30038" marR="3080">
              <a:lnSpc>
                <a:spcPct val="91500"/>
              </a:lnSpc>
              <a:spcBef>
                <a:spcPts val="269"/>
              </a:spcBef>
              <a:buFont typeface="Arial" panose="020B0604020202020204" pitchFamily="34" charset="0"/>
              <a:buChar char="•"/>
              <a:defRPr sz="2400" b="0">
                <a:latin typeface="Wix Madefor Text" panose="020B0503020203020203" pitchFamily="34" charset="77"/>
                <a:cs typeface="Wix Madefor Text" panose="020B0503020203020203" pitchFamily="34" charset="77"/>
              </a:defRPr>
            </a:lvl1pPr>
          </a:lstStyle>
          <a:p>
            <a:pPr marL="22529" marR="2310">
              <a:lnSpc>
                <a:spcPct val="91500"/>
              </a:lnSpc>
              <a:spcBef>
                <a:spcPts val="202"/>
              </a:spcBef>
            </a:pPr>
            <a:r>
              <a:rPr lang="en-GB" spc="-15"/>
              <a:t>Item 1</a:t>
            </a:r>
          </a:p>
          <a:p>
            <a:pPr marL="22529" marR="2310">
              <a:lnSpc>
                <a:spcPct val="91500"/>
              </a:lnSpc>
              <a:spcBef>
                <a:spcPts val="202"/>
              </a:spcBef>
            </a:pPr>
            <a:r>
              <a:rPr lang="en-GB" spc="-15"/>
              <a:t>Item 2</a:t>
            </a:r>
          </a:p>
          <a:p>
            <a:pPr marL="22529" marR="2310">
              <a:lnSpc>
                <a:spcPct val="91500"/>
              </a:lnSpc>
              <a:spcBef>
                <a:spcPts val="202"/>
              </a:spcBef>
            </a:pPr>
            <a:endParaRPr lang="en-GB" spc="-15"/>
          </a:p>
          <a:p>
            <a:pPr marL="22529" marR="2310">
              <a:lnSpc>
                <a:spcPct val="91500"/>
              </a:lnSpc>
              <a:spcBef>
                <a:spcPts val="202"/>
              </a:spcBef>
            </a:pPr>
            <a:endParaRPr spc="-7"/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3D150980-9E9B-787D-2AD2-F28313F33EC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8201" y="1350434"/>
            <a:ext cx="5160433" cy="44661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GB"/>
              <a:t>Subheading</a:t>
            </a:r>
            <a:endParaRPr lang="en-US"/>
          </a:p>
        </p:txBody>
      </p:sp>
      <p:sp>
        <p:nvSpPr>
          <p:cNvPr id="8" name="object 2">
            <a:extLst>
              <a:ext uri="{FF2B5EF4-FFF2-40B4-BE49-F238E27FC236}">
                <a16:creationId xmlns:a16="http://schemas.microsoft.com/office/drawing/2014/main" id="{BCCDDF23-885E-F28B-4E41-D528A28C117C}"/>
              </a:ext>
            </a:extLst>
          </p:cNvPr>
          <p:cNvSpPr txBox="1">
            <a:spLocks noGrp="1"/>
          </p:cNvSpPr>
          <p:nvPr>
            <p:ph sz="half" idx="12" hasCustomPrompt="1"/>
          </p:nvPr>
        </p:nvSpPr>
        <p:spPr>
          <a:xfrm>
            <a:off x="6193367" y="1892829"/>
            <a:ext cx="5159725" cy="1443034"/>
          </a:xfrm>
          <a:prstGeom prst="rect">
            <a:avLst/>
          </a:prstGeom>
        </p:spPr>
        <p:txBody>
          <a:bodyPr vert="horz" wrap="square" lIns="0" tIns="6932" rIns="0" bIns="0" rtlCol="0">
            <a:spAutoFit/>
          </a:bodyPr>
          <a:lstStyle>
            <a:lvl1pPr marL="30038" marR="3080">
              <a:lnSpc>
                <a:spcPct val="91500"/>
              </a:lnSpc>
              <a:spcBef>
                <a:spcPts val="269"/>
              </a:spcBef>
              <a:buFont typeface="Arial" panose="020B0604020202020204" pitchFamily="34" charset="0"/>
              <a:buChar char="•"/>
              <a:defRPr sz="2400" b="0">
                <a:latin typeface="Wix Madefor Text" panose="020B0503020203020203" pitchFamily="34" charset="77"/>
                <a:cs typeface="Wix Madefor Text" panose="020B0503020203020203" pitchFamily="34" charset="77"/>
              </a:defRPr>
            </a:lvl1pPr>
          </a:lstStyle>
          <a:p>
            <a:pPr marL="22529" marR="2310">
              <a:lnSpc>
                <a:spcPct val="91500"/>
              </a:lnSpc>
              <a:spcBef>
                <a:spcPts val="202"/>
              </a:spcBef>
            </a:pPr>
            <a:r>
              <a:rPr lang="en-GB" spc="-15"/>
              <a:t>Item 1</a:t>
            </a:r>
          </a:p>
          <a:p>
            <a:pPr marL="22529" marR="2310">
              <a:lnSpc>
                <a:spcPct val="91500"/>
              </a:lnSpc>
              <a:spcBef>
                <a:spcPts val="202"/>
              </a:spcBef>
            </a:pPr>
            <a:r>
              <a:rPr lang="en-GB" spc="-15"/>
              <a:t>Item 2</a:t>
            </a:r>
          </a:p>
          <a:p>
            <a:pPr marL="22529" marR="2310">
              <a:lnSpc>
                <a:spcPct val="91500"/>
              </a:lnSpc>
              <a:spcBef>
                <a:spcPts val="202"/>
              </a:spcBef>
            </a:pPr>
            <a:endParaRPr lang="en-GB" spc="-15"/>
          </a:p>
          <a:p>
            <a:pPr marL="22529" marR="2310">
              <a:lnSpc>
                <a:spcPct val="91500"/>
              </a:lnSpc>
              <a:spcBef>
                <a:spcPts val="202"/>
              </a:spcBef>
            </a:pPr>
            <a:endParaRPr spc="-7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2313F2D5-A017-C487-774D-7642DA780C8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92660" y="1350434"/>
            <a:ext cx="5160433" cy="44661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GB"/>
              <a:t>Subheading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80504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points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2A03EC2-B48A-2F15-574C-A8B98B9858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79400"/>
            <a:ext cx="8204200" cy="52281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7" name="object 2">
            <a:extLst>
              <a:ext uri="{FF2B5EF4-FFF2-40B4-BE49-F238E27FC236}">
                <a16:creationId xmlns:a16="http://schemas.microsoft.com/office/drawing/2014/main" id="{81CDEAAE-F40C-E9EE-A16D-B8D442FF6793}"/>
              </a:ext>
            </a:extLst>
          </p:cNvPr>
          <p:cNvSpPr txBox="1">
            <a:spLocks noGrp="1"/>
          </p:cNvSpPr>
          <p:nvPr>
            <p:ph sz="half" idx="10" hasCustomPrompt="1"/>
          </p:nvPr>
        </p:nvSpPr>
        <p:spPr>
          <a:xfrm>
            <a:off x="838909" y="1892830"/>
            <a:ext cx="3240868" cy="1141413"/>
          </a:xfrm>
          <a:prstGeom prst="rect">
            <a:avLst/>
          </a:prstGeom>
        </p:spPr>
        <p:txBody>
          <a:bodyPr vert="horz" wrap="square" lIns="0" tIns="6932" rIns="0" bIns="0" rtlCol="0">
            <a:spAutoFit/>
          </a:bodyPr>
          <a:lstStyle>
            <a:lvl1pPr marL="30038" marR="3080">
              <a:lnSpc>
                <a:spcPct val="91500"/>
              </a:lnSpc>
              <a:spcBef>
                <a:spcPts val="269"/>
              </a:spcBef>
              <a:buFont typeface="Arial" panose="020B0604020202020204" pitchFamily="34" charset="0"/>
              <a:buChar char="•"/>
              <a:defRPr sz="1867" b="0">
                <a:latin typeface="Wix Madefor Text" panose="020B0503020203020203" pitchFamily="34" charset="77"/>
                <a:cs typeface="Wix Madefor Text" panose="020B0503020203020203" pitchFamily="34" charset="77"/>
              </a:defRPr>
            </a:lvl1pPr>
          </a:lstStyle>
          <a:p>
            <a:pPr marL="22529" marR="2310">
              <a:lnSpc>
                <a:spcPct val="91500"/>
              </a:lnSpc>
              <a:spcBef>
                <a:spcPts val="202"/>
              </a:spcBef>
            </a:pPr>
            <a:r>
              <a:rPr lang="en-GB" spc="-15"/>
              <a:t>Item 1</a:t>
            </a:r>
          </a:p>
          <a:p>
            <a:pPr marL="22529" marR="2310">
              <a:lnSpc>
                <a:spcPct val="91500"/>
              </a:lnSpc>
              <a:spcBef>
                <a:spcPts val="202"/>
              </a:spcBef>
            </a:pPr>
            <a:r>
              <a:rPr lang="en-GB" spc="-15"/>
              <a:t>Item 2</a:t>
            </a:r>
          </a:p>
          <a:p>
            <a:pPr marL="22529" marR="2310">
              <a:lnSpc>
                <a:spcPct val="91500"/>
              </a:lnSpc>
              <a:spcBef>
                <a:spcPts val="202"/>
              </a:spcBef>
            </a:pPr>
            <a:endParaRPr lang="en-GB" spc="-15"/>
          </a:p>
          <a:p>
            <a:pPr marL="22529" marR="2310">
              <a:lnSpc>
                <a:spcPct val="91500"/>
              </a:lnSpc>
              <a:spcBef>
                <a:spcPts val="202"/>
              </a:spcBef>
            </a:pPr>
            <a:endParaRPr spc="-7"/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1DB00783-11C5-2503-E709-F362FAFE8E8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8201" y="1350434"/>
            <a:ext cx="3241313" cy="446617"/>
          </a:xfrm>
        </p:spPr>
        <p:txBody>
          <a:bodyPr/>
          <a:lstStyle>
            <a:lvl1pPr>
              <a:defRPr sz="2133" b="1"/>
            </a:lvl1pPr>
          </a:lstStyle>
          <a:p>
            <a:pPr lvl="0"/>
            <a:r>
              <a:rPr lang="en-GB"/>
              <a:t>Subheading</a:t>
            </a:r>
            <a:endParaRPr lang="en-US"/>
          </a:p>
        </p:txBody>
      </p:sp>
      <p:sp>
        <p:nvSpPr>
          <p:cNvPr id="9" name="object 2">
            <a:extLst>
              <a:ext uri="{FF2B5EF4-FFF2-40B4-BE49-F238E27FC236}">
                <a16:creationId xmlns:a16="http://schemas.microsoft.com/office/drawing/2014/main" id="{A564F729-CD0B-00B6-62F1-894E4DF76DED}"/>
              </a:ext>
            </a:extLst>
          </p:cNvPr>
          <p:cNvSpPr txBox="1">
            <a:spLocks noGrp="1"/>
          </p:cNvSpPr>
          <p:nvPr>
            <p:ph sz="half" idx="12" hasCustomPrompt="1"/>
          </p:nvPr>
        </p:nvSpPr>
        <p:spPr>
          <a:xfrm>
            <a:off x="4392011" y="1892830"/>
            <a:ext cx="3240868" cy="1141413"/>
          </a:xfrm>
          <a:prstGeom prst="rect">
            <a:avLst/>
          </a:prstGeom>
        </p:spPr>
        <p:txBody>
          <a:bodyPr vert="horz" wrap="square" lIns="0" tIns="6932" rIns="0" bIns="0" rtlCol="0">
            <a:spAutoFit/>
          </a:bodyPr>
          <a:lstStyle>
            <a:lvl1pPr marL="30038" marR="3080">
              <a:lnSpc>
                <a:spcPct val="91500"/>
              </a:lnSpc>
              <a:spcBef>
                <a:spcPts val="269"/>
              </a:spcBef>
              <a:buFont typeface="Arial" panose="020B0604020202020204" pitchFamily="34" charset="0"/>
              <a:buChar char="•"/>
              <a:defRPr sz="1867" b="0">
                <a:latin typeface="Wix Madefor Text" panose="020B0503020203020203" pitchFamily="34" charset="77"/>
                <a:cs typeface="Wix Madefor Text" panose="020B0503020203020203" pitchFamily="34" charset="77"/>
              </a:defRPr>
            </a:lvl1pPr>
          </a:lstStyle>
          <a:p>
            <a:pPr marL="22529" marR="2310">
              <a:lnSpc>
                <a:spcPct val="91500"/>
              </a:lnSpc>
              <a:spcBef>
                <a:spcPts val="202"/>
              </a:spcBef>
            </a:pPr>
            <a:r>
              <a:rPr lang="en-GB" spc="-15"/>
              <a:t>Item 1</a:t>
            </a:r>
          </a:p>
          <a:p>
            <a:pPr marL="22529" marR="2310">
              <a:lnSpc>
                <a:spcPct val="91500"/>
              </a:lnSpc>
              <a:spcBef>
                <a:spcPts val="202"/>
              </a:spcBef>
            </a:pPr>
            <a:r>
              <a:rPr lang="en-GB" spc="-15"/>
              <a:t>Item 2</a:t>
            </a:r>
          </a:p>
          <a:p>
            <a:pPr marL="22529" marR="2310">
              <a:lnSpc>
                <a:spcPct val="91500"/>
              </a:lnSpc>
              <a:spcBef>
                <a:spcPts val="202"/>
              </a:spcBef>
            </a:pPr>
            <a:endParaRPr lang="en-GB" spc="-15"/>
          </a:p>
          <a:p>
            <a:pPr marL="22529" marR="2310">
              <a:lnSpc>
                <a:spcPct val="91500"/>
              </a:lnSpc>
              <a:spcBef>
                <a:spcPts val="202"/>
              </a:spcBef>
            </a:pPr>
            <a:endParaRPr spc="-7"/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CEB58FF4-7F99-848C-D69E-70545F4E97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91304" y="1350434"/>
            <a:ext cx="3241313" cy="446617"/>
          </a:xfrm>
        </p:spPr>
        <p:txBody>
          <a:bodyPr/>
          <a:lstStyle>
            <a:lvl1pPr>
              <a:defRPr sz="2133" b="1"/>
            </a:lvl1pPr>
          </a:lstStyle>
          <a:p>
            <a:pPr lvl="0"/>
            <a:r>
              <a:rPr lang="en-GB"/>
              <a:t>Subheading</a:t>
            </a:r>
            <a:endParaRPr lang="en-US"/>
          </a:p>
        </p:txBody>
      </p:sp>
      <p:sp>
        <p:nvSpPr>
          <p:cNvPr id="11" name="object 2">
            <a:extLst>
              <a:ext uri="{FF2B5EF4-FFF2-40B4-BE49-F238E27FC236}">
                <a16:creationId xmlns:a16="http://schemas.microsoft.com/office/drawing/2014/main" id="{8A04617B-1789-6216-7557-7C793BE2D59F}"/>
              </a:ext>
            </a:extLst>
          </p:cNvPr>
          <p:cNvSpPr txBox="1">
            <a:spLocks noGrp="1"/>
          </p:cNvSpPr>
          <p:nvPr>
            <p:ph sz="half" idx="14" hasCustomPrompt="1"/>
          </p:nvPr>
        </p:nvSpPr>
        <p:spPr>
          <a:xfrm>
            <a:off x="7945114" y="1892830"/>
            <a:ext cx="3240868" cy="1141413"/>
          </a:xfrm>
          <a:prstGeom prst="rect">
            <a:avLst/>
          </a:prstGeom>
        </p:spPr>
        <p:txBody>
          <a:bodyPr vert="horz" wrap="square" lIns="0" tIns="6932" rIns="0" bIns="0" rtlCol="0">
            <a:spAutoFit/>
          </a:bodyPr>
          <a:lstStyle>
            <a:lvl1pPr marL="30038" marR="3080">
              <a:lnSpc>
                <a:spcPct val="91500"/>
              </a:lnSpc>
              <a:spcBef>
                <a:spcPts val="269"/>
              </a:spcBef>
              <a:buFont typeface="Arial" panose="020B0604020202020204" pitchFamily="34" charset="0"/>
              <a:buChar char="•"/>
              <a:defRPr sz="1867" b="0">
                <a:latin typeface="Wix Madefor Text" panose="020B0503020203020203" pitchFamily="34" charset="77"/>
                <a:cs typeface="Wix Madefor Text" panose="020B0503020203020203" pitchFamily="34" charset="77"/>
              </a:defRPr>
            </a:lvl1pPr>
          </a:lstStyle>
          <a:p>
            <a:pPr marL="22529" marR="2310">
              <a:lnSpc>
                <a:spcPct val="91500"/>
              </a:lnSpc>
              <a:spcBef>
                <a:spcPts val="202"/>
              </a:spcBef>
            </a:pPr>
            <a:r>
              <a:rPr lang="en-GB" spc="-15"/>
              <a:t>Item 1</a:t>
            </a:r>
          </a:p>
          <a:p>
            <a:pPr marL="22529" marR="2310">
              <a:lnSpc>
                <a:spcPct val="91500"/>
              </a:lnSpc>
              <a:spcBef>
                <a:spcPts val="202"/>
              </a:spcBef>
            </a:pPr>
            <a:r>
              <a:rPr lang="en-GB" spc="-15"/>
              <a:t>Item 2</a:t>
            </a:r>
          </a:p>
          <a:p>
            <a:pPr marL="22529" marR="2310">
              <a:lnSpc>
                <a:spcPct val="91500"/>
              </a:lnSpc>
              <a:spcBef>
                <a:spcPts val="202"/>
              </a:spcBef>
            </a:pPr>
            <a:endParaRPr lang="en-GB" spc="-15"/>
          </a:p>
          <a:p>
            <a:pPr marL="22529" marR="2310">
              <a:lnSpc>
                <a:spcPct val="91500"/>
              </a:lnSpc>
              <a:spcBef>
                <a:spcPts val="202"/>
              </a:spcBef>
            </a:pPr>
            <a:endParaRPr spc="-7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C6E96CE4-25EE-B897-FAA1-88FAEB9B29F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44406" y="1350434"/>
            <a:ext cx="3241313" cy="446617"/>
          </a:xfrm>
        </p:spPr>
        <p:txBody>
          <a:bodyPr/>
          <a:lstStyle>
            <a:lvl1pPr>
              <a:defRPr sz="2133" b="1"/>
            </a:lvl1pPr>
          </a:lstStyle>
          <a:p>
            <a:pPr lvl="0"/>
            <a:r>
              <a:rPr lang="en-GB"/>
              <a:t>Subheading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453785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>
            <a:extLst>
              <a:ext uri="{FF2B5EF4-FFF2-40B4-BE49-F238E27FC236}">
                <a16:creationId xmlns:a16="http://schemas.microsoft.com/office/drawing/2014/main" id="{024E6AAB-6952-3018-34C6-604A2A7DE2A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46203" y="1361507"/>
            <a:ext cx="4945000" cy="4912293"/>
          </a:xfrm>
          <a:prstGeom prst="rect">
            <a:avLst/>
          </a:prstGeom>
        </p:spPr>
        <p:txBody>
          <a:bodyPr lIns="0" tIns="0" rIns="0" bIns="0"/>
          <a:lstStyle>
            <a:lvl1pPr>
              <a:defRPr sz="2487" b="0" i="0">
                <a:solidFill>
                  <a:schemeClr val="tx1"/>
                </a:solidFill>
                <a:latin typeface="Wix Madefor Text"/>
                <a:cs typeface="Wix Madefor Text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F0D4B5E7-37CF-A712-3A4C-5242AF59BA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79400"/>
            <a:ext cx="8204200" cy="52281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6" name="Online Image Placeholder 5">
            <a:extLst>
              <a:ext uri="{FF2B5EF4-FFF2-40B4-BE49-F238E27FC236}">
                <a16:creationId xmlns:a16="http://schemas.microsoft.com/office/drawing/2014/main" id="{FA8C1452-BF10-D2FB-C040-24B6CB834771}"/>
              </a:ext>
            </a:extLst>
          </p:cNvPr>
          <p:cNvSpPr>
            <a:spLocks noGrp="1"/>
          </p:cNvSpPr>
          <p:nvPr>
            <p:ph type="clipArt" sz="quarter" idx="10"/>
          </p:nvPr>
        </p:nvSpPr>
        <p:spPr>
          <a:xfrm>
            <a:off x="6096000" y="1361507"/>
            <a:ext cx="5568951" cy="4912293"/>
          </a:xfrm>
        </p:spPr>
        <p:txBody>
          <a:bodyPr/>
          <a:lstStyle/>
          <a:p>
            <a:r>
              <a:rPr lang="en-GB"/>
              <a:t>Click icon to add online imag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28792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&amp; Image 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BE0B57A-62BD-5CD7-9B2F-F90720EEBA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79400"/>
            <a:ext cx="8204200" cy="52281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" name="object 2">
            <a:extLst>
              <a:ext uri="{FF2B5EF4-FFF2-40B4-BE49-F238E27FC236}">
                <a16:creationId xmlns:a16="http://schemas.microsoft.com/office/drawing/2014/main" id="{BC048F7D-6D86-7EEE-4026-A3B60FBBD5C7}"/>
              </a:ext>
            </a:extLst>
          </p:cNvPr>
          <p:cNvSpPr txBox="1">
            <a:spLocks noGrp="1"/>
          </p:cNvSpPr>
          <p:nvPr>
            <p:ph sz="half" idx="10" hasCustomPrompt="1"/>
          </p:nvPr>
        </p:nvSpPr>
        <p:spPr>
          <a:xfrm>
            <a:off x="838908" y="4357723"/>
            <a:ext cx="5159725" cy="1443034"/>
          </a:xfrm>
          <a:prstGeom prst="rect">
            <a:avLst/>
          </a:prstGeom>
        </p:spPr>
        <p:txBody>
          <a:bodyPr vert="horz" wrap="square" lIns="0" tIns="6932" rIns="0" bIns="0" rtlCol="0">
            <a:spAutoFit/>
          </a:bodyPr>
          <a:lstStyle>
            <a:lvl1pPr marL="30038" marR="3080">
              <a:lnSpc>
                <a:spcPct val="91500"/>
              </a:lnSpc>
              <a:spcBef>
                <a:spcPts val="269"/>
              </a:spcBef>
              <a:buFont typeface="Arial" panose="020B0604020202020204" pitchFamily="34" charset="0"/>
              <a:buChar char="•"/>
              <a:defRPr sz="2400" b="0">
                <a:latin typeface="Wix Madefor Text" panose="020B0503020203020203" pitchFamily="34" charset="77"/>
                <a:cs typeface="Wix Madefor Text" panose="020B0503020203020203" pitchFamily="34" charset="77"/>
              </a:defRPr>
            </a:lvl1pPr>
          </a:lstStyle>
          <a:p>
            <a:pPr marL="22529" marR="2310">
              <a:lnSpc>
                <a:spcPct val="91500"/>
              </a:lnSpc>
              <a:spcBef>
                <a:spcPts val="202"/>
              </a:spcBef>
            </a:pPr>
            <a:r>
              <a:rPr lang="en-GB" spc="-15"/>
              <a:t>Item 1</a:t>
            </a:r>
          </a:p>
          <a:p>
            <a:pPr marL="22529" marR="2310">
              <a:lnSpc>
                <a:spcPct val="91500"/>
              </a:lnSpc>
              <a:spcBef>
                <a:spcPts val="202"/>
              </a:spcBef>
            </a:pPr>
            <a:r>
              <a:rPr lang="en-GB" spc="-15"/>
              <a:t>Item 2</a:t>
            </a:r>
          </a:p>
          <a:p>
            <a:pPr marL="22529" marR="2310">
              <a:lnSpc>
                <a:spcPct val="91500"/>
              </a:lnSpc>
              <a:spcBef>
                <a:spcPts val="202"/>
              </a:spcBef>
            </a:pPr>
            <a:endParaRPr lang="en-GB" spc="-15"/>
          </a:p>
          <a:p>
            <a:pPr marL="22529" marR="2310">
              <a:lnSpc>
                <a:spcPct val="91500"/>
              </a:lnSpc>
              <a:spcBef>
                <a:spcPts val="202"/>
              </a:spcBef>
            </a:pPr>
            <a:endParaRPr spc="-7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97A80772-9EFF-6035-6198-EC37C402A83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8201" y="3815328"/>
            <a:ext cx="5160433" cy="44661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GB"/>
              <a:t>Subheading</a:t>
            </a:r>
            <a:endParaRPr lang="en-US"/>
          </a:p>
        </p:txBody>
      </p:sp>
      <p:sp>
        <p:nvSpPr>
          <p:cNvPr id="10" name="object 2">
            <a:extLst>
              <a:ext uri="{FF2B5EF4-FFF2-40B4-BE49-F238E27FC236}">
                <a16:creationId xmlns:a16="http://schemas.microsoft.com/office/drawing/2014/main" id="{3B7833A2-622E-7803-D907-CA6F311ACB2F}"/>
              </a:ext>
            </a:extLst>
          </p:cNvPr>
          <p:cNvSpPr txBox="1">
            <a:spLocks noGrp="1"/>
          </p:cNvSpPr>
          <p:nvPr>
            <p:ph sz="half" idx="12" hasCustomPrompt="1"/>
          </p:nvPr>
        </p:nvSpPr>
        <p:spPr>
          <a:xfrm>
            <a:off x="6476819" y="4357723"/>
            <a:ext cx="5159725" cy="1443034"/>
          </a:xfrm>
          <a:prstGeom prst="rect">
            <a:avLst/>
          </a:prstGeom>
        </p:spPr>
        <p:txBody>
          <a:bodyPr vert="horz" wrap="square" lIns="0" tIns="6932" rIns="0" bIns="0" rtlCol="0">
            <a:spAutoFit/>
          </a:bodyPr>
          <a:lstStyle>
            <a:lvl1pPr marL="30038" marR="3080">
              <a:lnSpc>
                <a:spcPct val="91500"/>
              </a:lnSpc>
              <a:spcBef>
                <a:spcPts val="269"/>
              </a:spcBef>
              <a:buFont typeface="Arial" panose="020B0604020202020204" pitchFamily="34" charset="0"/>
              <a:buChar char="•"/>
              <a:defRPr sz="2400" b="0">
                <a:latin typeface="Wix Madefor Text" panose="020B0503020203020203" pitchFamily="34" charset="77"/>
                <a:cs typeface="Wix Madefor Text" panose="020B0503020203020203" pitchFamily="34" charset="77"/>
              </a:defRPr>
            </a:lvl1pPr>
          </a:lstStyle>
          <a:p>
            <a:pPr marL="22529" marR="2310">
              <a:lnSpc>
                <a:spcPct val="91500"/>
              </a:lnSpc>
              <a:spcBef>
                <a:spcPts val="202"/>
              </a:spcBef>
            </a:pPr>
            <a:r>
              <a:rPr lang="en-GB" spc="-15"/>
              <a:t>Item 1</a:t>
            </a:r>
          </a:p>
          <a:p>
            <a:pPr marL="22529" marR="2310">
              <a:lnSpc>
                <a:spcPct val="91500"/>
              </a:lnSpc>
              <a:spcBef>
                <a:spcPts val="202"/>
              </a:spcBef>
            </a:pPr>
            <a:r>
              <a:rPr lang="en-GB" spc="-15"/>
              <a:t>Item 2</a:t>
            </a:r>
          </a:p>
          <a:p>
            <a:pPr marL="22529" marR="2310">
              <a:lnSpc>
                <a:spcPct val="91500"/>
              </a:lnSpc>
              <a:spcBef>
                <a:spcPts val="202"/>
              </a:spcBef>
            </a:pPr>
            <a:endParaRPr lang="en-GB" spc="-15"/>
          </a:p>
          <a:p>
            <a:pPr marL="22529" marR="2310">
              <a:lnSpc>
                <a:spcPct val="91500"/>
              </a:lnSpc>
              <a:spcBef>
                <a:spcPts val="202"/>
              </a:spcBef>
            </a:pPr>
            <a:endParaRPr spc="-7"/>
          </a:p>
        </p:txBody>
      </p:sp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40F2D6F8-BE5F-CA96-0590-0B64E384FD4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6112" y="3815328"/>
            <a:ext cx="5160433" cy="44661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GB"/>
              <a:t>Subheading</a:t>
            </a:r>
            <a:endParaRPr lang="en-US"/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9B08C568-5CC6-D286-412D-E4F014FCD52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38201" y="1367175"/>
            <a:ext cx="5160433" cy="1849967"/>
          </a:xfrm>
        </p:spPr>
        <p:txBody>
          <a:bodyPr/>
          <a:lstStyle/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20" name="Picture Placeholder 18">
            <a:extLst>
              <a:ext uri="{FF2B5EF4-FFF2-40B4-BE49-F238E27FC236}">
                <a16:creationId xmlns:a16="http://schemas.microsoft.com/office/drawing/2014/main" id="{2EB73BBB-BA44-30B0-9401-AF7E971B96F0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476110" y="1367174"/>
            <a:ext cx="5160433" cy="1849967"/>
          </a:xfrm>
        </p:spPr>
        <p:txBody>
          <a:bodyPr/>
          <a:lstStyle/>
          <a:p>
            <a:r>
              <a:rPr lang="en-GB"/>
              <a:t>Click icon to add pictu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207864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AEDA12C-8D4C-1BE3-74C6-FF495576C5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79400"/>
            <a:ext cx="8204200" cy="52281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" name="Chart Placeholder 7">
            <a:extLst>
              <a:ext uri="{FF2B5EF4-FFF2-40B4-BE49-F238E27FC236}">
                <a16:creationId xmlns:a16="http://schemas.microsoft.com/office/drawing/2014/main" id="{97BC97B6-136E-A11C-506D-8EA45AD5A908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838201" y="1600200"/>
            <a:ext cx="3433596" cy="4241939"/>
          </a:xfrm>
        </p:spPr>
        <p:txBody>
          <a:bodyPr/>
          <a:lstStyle/>
          <a:p>
            <a:r>
              <a:rPr lang="en-GB"/>
              <a:t>Click icon to add chart</a:t>
            </a:r>
            <a:endParaRPr lang="en-US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97DC8DB5-7D4A-80F7-0E58-C305BC352FA2}"/>
              </a:ext>
            </a:extLst>
          </p:cNvPr>
          <p:cNvSpPr>
            <a:spLocks noGrp="1"/>
          </p:cNvSpPr>
          <p:nvPr>
            <p:ph type="chart" sz="quarter" idx="11"/>
          </p:nvPr>
        </p:nvSpPr>
        <p:spPr>
          <a:xfrm>
            <a:off x="4607503" y="1600200"/>
            <a:ext cx="3433596" cy="4241939"/>
          </a:xfrm>
        </p:spPr>
        <p:txBody>
          <a:bodyPr/>
          <a:lstStyle/>
          <a:p>
            <a:r>
              <a:rPr lang="en-GB"/>
              <a:t>Click icon to add chart</a:t>
            </a:r>
            <a:endParaRPr lang="en-US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C7F1621D-E344-044A-A622-1579FC0CB65C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8376806" y="1600200"/>
            <a:ext cx="3433596" cy="4241939"/>
          </a:xfrm>
        </p:spPr>
        <p:txBody>
          <a:bodyPr/>
          <a:lstStyle/>
          <a:p>
            <a:r>
              <a:rPr lang="en-GB"/>
              <a:t>Click icon to add char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250496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group of people in graduation gowns&#10;&#10;AI-generated content may be incorrect.">
            <a:extLst>
              <a:ext uri="{FF2B5EF4-FFF2-40B4-BE49-F238E27FC236}">
                <a16:creationId xmlns:a16="http://schemas.microsoft.com/office/drawing/2014/main" id="{DBDA9D3E-8723-9E07-A16C-218F4E445ED6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50447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 x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3BD1D9DC-F65C-B02F-E256-BFFB4E5AD5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79400"/>
            <a:ext cx="8204200" cy="52281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472640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846202" y="1361507"/>
            <a:ext cx="10228199" cy="4912293"/>
          </a:xfrm>
          <a:prstGeom prst="rect">
            <a:avLst/>
          </a:prstGeom>
        </p:spPr>
        <p:txBody>
          <a:bodyPr lIns="0" tIns="0" rIns="0" bIns="0"/>
          <a:lstStyle>
            <a:lvl1pPr>
              <a:defRPr sz="2487" b="0" i="0">
                <a:solidFill>
                  <a:schemeClr val="tx1"/>
                </a:solidFill>
                <a:latin typeface="Wix Madefor Text"/>
                <a:cs typeface="Wix Madefor Text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3BD1D9DC-F65C-B02F-E256-BFFB4E5AD5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79400"/>
            <a:ext cx="8204200" cy="52281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11797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BDB7A60D-FC50-7D14-279E-2544A74A9E6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74725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2491058-48F1-5C4E-6E7D-D4C6D9162C20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47457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2491058-48F1-5C4E-6E7D-D4C6D9162C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BDB7A60D-FC50-7D14-279E-2544A74A9E6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4F7DB1D-3605-E75B-A5B2-9D990324E0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79400"/>
            <a:ext cx="10184842" cy="522816"/>
          </a:xfrm>
        </p:spPr>
        <p:txBody>
          <a:bodyPr vert="horz" rIns="91440"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619652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BDB7A60D-FC50-7D14-279E-2544A74A9E6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EF52DD9F-134D-E430-E8F0-0C532E812C5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0621109" y="173906"/>
            <a:ext cx="1273906" cy="9723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19441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BDB7A60D-FC50-7D14-279E-2544A74A9E6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EF52DD9F-134D-E430-E8F0-0C532E812C5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0621109" y="173906"/>
            <a:ext cx="1273906" cy="972390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9C66151B-78CD-854B-A8C7-C29BAF558F35}"/>
              </a:ext>
            </a:extLst>
          </p:cNvPr>
          <p:cNvGrpSpPr/>
          <p:nvPr userDrawn="1"/>
        </p:nvGrpSpPr>
        <p:grpSpPr>
          <a:xfrm>
            <a:off x="59" y="2873152"/>
            <a:ext cx="12191941" cy="3503891"/>
            <a:chOff x="59" y="2873152"/>
            <a:chExt cx="12191941" cy="3503891"/>
          </a:xfrm>
        </p:grpSpPr>
        <p:sp>
          <p:nvSpPr>
            <p:cNvPr id="5" name="object 22">
              <a:extLst>
                <a:ext uri="{FF2B5EF4-FFF2-40B4-BE49-F238E27FC236}">
                  <a16:creationId xmlns:a16="http://schemas.microsoft.com/office/drawing/2014/main" id="{01F94F87-F73A-D0EF-7EC0-DFC4595989F8}"/>
                </a:ext>
              </a:extLst>
            </p:cNvPr>
            <p:cNvSpPr/>
            <p:nvPr/>
          </p:nvSpPr>
          <p:spPr bwMode="gray">
            <a:xfrm>
              <a:off x="59" y="6080271"/>
              <a:ext cx="12191941" cy="117060"/>
            </a:xfrm>
            <a:custGeom>
              <a:avLst/>
              <a:gdLst/>
              <a:ahLst/>
              <a:cxnLst/>
              <a:rect l="l" t="t" r="r" b="b"/>
              <a:pathLst>
                <a:path w="7147559" h="193039">
                  <a:moveTo>
                    <a:pt x="7147550" y="0"/>
                  </a:moveTo>
                  <a:lnTo>
                    <a:pt x="0" y="0"/>
                  </a:lnTo>
                  <a:lnTo>
                    <a:pt x="0" y="192695"/>
                  </a:lnTo>
                  <a:lnTo>
                    <a:pt x="7147550" y="192695"/>
                  </a:lnTo>
                  <a:lnTo>
                    <a:pt x="7147550" y="0"/>
                  </a:lnTo>
                  <a:close/>
                </a:path>
              </a:pathLst>
            </a:custGeom>
            <a:solidFill>
              <a:srgbClr val="5A6469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4604EA65-A666-D585-28DC-A81ADE978180}"/>
                </a:ext>
              </a:extLst>
            </p:cNvPr>
            <p:cNvGrpSpPr/>
            <p:nvPr/>
          </p:nvGrpSpPr>
          <p:grpSpPr>
            <a:xfrm>
              <a:off x="1139075" y="2873152"/>
              <a:ext cx="11052924" cy="3503891"/>
              <a:chOff x="1139075" y="2873152"/>
              <a:chExt cx="11052924" cy="3503891"/>
            </a:xfrm>
          </p:grpSpPr>
          <p:sp>
            <p:nvSpPr>
              <p:cNvPr id="7" name="Freeform: Shape 6">
                <a:extLst>
                  <a:ext uri="{FF2B5EF4-FFF2-40B4-BE49-F238E27FC236}">
                    <a16:creationId xmlns:a16="http://schemas.microsoft.com/office/drawing/2014/main" id="{17D332F3-5BAE-4873-B17D-5AC45481AE73}"/>
                  </a:ext>
                </a:extLst>
              </p:cNvPr>
              <p:cNvSpPr/>
              <p:nvPr/>
            </p:nvSpPr>
            <p:spPr bwMode="gray">
              <a:xfrm rot="2700000">
                <a:off x="-554445" y="4566672"/>
                <a:ext cx="3503891" cy="116851"/>
              </a:xfrm>
              <a:custGeom>
                <a:avLst/>
                <a:gdLst>
                  <a:gd name="csX0" fmla="*/ 0 w 3503891"/>
                  <a:gd name="csY0" fmla="*/ 0 h 116851"/>
                  <a:gd name="csX1" fmla="*/ 3503891 w 3503891"/>
                  <a:gd name="csY1" fmla="*/ 0 h 116851"/>
                  <a:gd name="csX2" fmla="*/ 3503891 w 3503891"/>
                  <a:gd name="csY2" fmla="*/ 116851 h 116851"/>
                  <a:gd name="csX3" fmla="*/ 116851 w 3503891"/>
                  <a:gd name="csY3" fmla="*/ 116851 h 116851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</a:cxnLst>
                <a:rect l="l" t="t" r="r" b="b"/>
                <a:pathLst>
                  <a:path w="3503891" h="116851">
                    <a:moveTo>
                      <a:pt x="0" y="0"/>
                    </a:moveTo>
                    <a:lnTo>
                      <a:pt x="3503891" y="0"/>
                    </a:lnTo>
                    <a:lnTo>
                      <a:pt x="3503891" y="116851"/>
                    </a:lnTo>
                    <a:lnTo>
                      <a:pt x="116851" y="116851"/>
                    </a:lnTo>
                    <a:close/>
                  </a:path>
                </a:pathLst>
              </a:custGeom>
              <a:solidFill>
                <a:srgbClr val="CDD7DC"/>
              </a:solidFill>
            </p:spPr>
            <p:txBody>
              <a:bodyPr wrap="square" lIns="0" tIns="0" rIns="0" bIns="0" rtlCol="0">
                <a:noAutofit/>
              </a:bodyPr>
              <a:lstStyle/>
              <a:p>
                <a:endParaRPr sz="1092"/>
              </a:p>
            </p:txBody>
          </p:sp>
          <p:sp>
            <p:nvSpPr>
              <p:cNvPr id="8" name="object 30">
                <a:extLst>
                  <a:ext uri="{FF2B5EF4-FFF2-40B4-BE49-F238E27FC236}">
                    <a16:creationId xmlns:a16="http://schemas.microsoft.com/office/drawing/2014/main" id="{3C024CE8-A906-EACB-5A2C-E14D4DCDB2C0}"/>
                  </a:ext>
                </a:extLst>
              </p:cNvPr>
              <p:cNvSpPr/>
              <p:nvPr/>
            </p:nvSpPr>
            <p:spPr bwMode="gray">
              <a:xfrm>
                <a:off x="2519804" y="5964181"/>
                <a:ext cx="9672195" cy="117060"/>
              </a:xfrm>
              <a:custGeom>
                <a:avLst/>
                <a:gdLst/>
                <a:ahLst/>
                <a:cxnLst/>
                <a:rect l="l" t="t" r="r" b="b"/>
                <a:pathLst>
                  <a:path w="4582159" h="193039">
                    <a:moveTo>
                      <a:pt x="4581548" y="0"/>
                    </a:moveTo>
                    <a:lnTo>
                      <a:pt x="0" y="0"/>
                    </a:lnTo>
                    <a:lnTo>
                      <a:pt x="0" y="192695"/>
                    </a:lnTo>
                    <a:lnTo>
                      <a:pt x="4581548" y="192695"/>
                    </a:lnTo>
                    <a:lnTo>
                      <a:pt x="4581548" y="0"/>
                    </a:lnTo>
                    <a:close/>
                  </a:path>
                </a:pathLst>
              </a:custGeom>
              <a:solidFill>
                <a:srgbClr val="CDD7DC"/>
              </a:solidFill>
            </p:spPr>
            <p:txBody>
              <a:bodyPr wrap="square" lIns="0" tIns="0" rIns="0" bIns="0" rtlCol="0"/>
              <a:lstStyle/>
              <a:p>
                <a:endParaRPr sz="1092"/>
              </a:p>
            </p:txBody>
          </p:sp>
          <p:sp>
            <p:nvSpPr>
              <p:cNvPr id="9" name="object 25">
                <a:extLst>
                  <a:ext uri="{FF2B5EF4-FFF2-40B4-BE49-F238E27FC236}">
                    <a16:creationId xmlns:a16="http://schemas.microsoft.com/office/drawing/2014/main" id="{B40F5CA3-47E0-33C4-DDE8-70D033000EAB}"/>
                  </a:ext>
                </a:extLst>
              </p:cNvPr>
              <p:cNvSpPr/>
              <p:nvPr/>
            </p:nvSpPr>
            <p:spPr bwMode="gray">
              <a:xfrm>
                <a:off x="2327011" y="5855008"/>
                <a:ext cx="450526" cy="450526"/>
              </a:xfrm>
              <a:custGeom>
                <a:avLst/>
                <a:gdLst/>
                <a:ahLst/>
                <a:cxnLst/>
                <a:rect l="l" t="t" r="r" b="b"/>
                <a:pathLst>
                  <a:path w="742950" h="742950">
                    <a:moveTo>
                      <a:pt x="371192" y="742385"/>
                    </a:moveTo>
                    <a:lnTo>
                      <a:pt x="417755" y="739493"/>
                    </a:lnTo>
                    <a:lnTo>
                      <a:pt x="462592" y="731049"/>
                    </a:lnTo>
                    <a:lnTo>
                      <a:pt x="505354" y="717400"/>
                    </a:lnTo>
                    <a:lnTo>
                      <a:pt x="545694" y="698895"/>
                    </a:lnTo>
                    <a:lnTo>
                      <a:pt x="583265" y="675881"/>
                    </a:lnTo>
                    <a:lnTo>
                      <a:pt x="617718" y="648705"/>
                    </a:lnTo>
                    <a:lnTo>
                      <a:pt x="648706" y="617717"/>
                    </a:lnTo>
                    <a:lnTo>
                      <a:pt x="675881" y="583263"/>
                    </a:lnTo>
                    <a:lnTo>
                      <a:pt x="698895" y="545691"/>
                    </a:lnTo>
                    <a:lnTo>
                      <a:pt x="717400" y="505349"/>
                    </a:lnTo>
                    <a:lnTo>
                      <a:pt x="731049" y="462585"/>
                    </a:lnTo>
                    <a:lnTo>
                      <a:pt x="739493" y="417747"/>
                    </a:lnTo>
                    <a:lnTo>
                      <a:pt x="742385" y="371182"/>
                    </a:lnTo>
                    <a:lnTo>
                      <a:pt x="739493" y="324621"/>
                    </a:lnTo>
                    <a:lnTo>
                      <a:pt x="731049" y="279787"/>
                    </a:lnTo>
                    <a:lnTo>
                      <a:pt x="717400" y="237026"/>
                    </a:lnTo>
                    <a:lnTo>
                      <a:pt x="698895" y="196687"/>
                    </a:lnTo>
                    <a:lnTo>
                      <a:pt x="675881" y="159117"/>
                    </a:lnTo>
                    <a:lnTo>
                      <a:pt x="648706" y="124665"/>
                    </a:lnTo>
                    <a:lnTo>
                      <a:pt x="617718" y="93677"/>
                    </a:lnTo>
                    <a:lnTo>
                      <a:pt x="583265" y="66503"/>
                    </a:lnTo>
                    <a:lnTo>
                      <a:pt x="545694" y="43489"/>
                    </a:lnTo>
                    <a:lnTo>
                      <a:pt x="505354" y="24984"/>
                    </a:lnTo>
                    <a:lnTo>
                      <a:pt x="462592" y="11336"/>
                    </a:lnTo>
                    <a:lnTo>
                      <a:pt x="417755" y="2892"/>
                    </a:lnTo>
                    <a:lnTo>
                      <a:pt x="371192" y="0"/>
                    </a:lnTo>
                    <a:lnTo>
                      <a:pt x="324630" y="2892"/>
                    </a:lnTo>
                    <a:lnTo>
                      <a:pt x="279793" y="11336"/>
                    </a:lnTo>
                    <a:lnTo>
                      <a:pt x="237031" y="24984"/>
                    </a:lnTo>
                    <a:lnTo>
                      <a:pt x="196690" y="43489"/>
                    </a:lnTo>
                    <a:lnTo>
                      <a:pt x="159120" y="66503"/>
                    </a:lnTo>
                    <a:lnTo>
                      <a:pt x="124666" y="93677"/>
                    </a:lnTo>
                    <a:lnTo>
                      <a:pt x="93678" y="124665"/>
                    </a:lnTo>
                    <a:lnTo>
                      <a:pt x="66503" y="159117"/>
                    </a:lnTo>
                    <a:lnTo>
                      <a:pt x="43490" y="196687"/>
                    </a:lnTo>
                    <a:lnTo>
                      <a:pt x="24984" y="237026"/>
                    </a:lnTo>
                    <a:lnTo>
                      <a:pt x="11336" y="279787"/>
                    </a:lnTo>
                    <a:lnTo>
                      <a:pt x="2892" y="324621"/>
                    </a:lnTo>
                    <a:lnTo>
                      <a:pt x="0" y="371182"/>
                    </a:lnTo>
                    <a:lnTo>
                      <a:pt x="2892" y="417747"/>
                    </a:lnTo>
                    <a:lnTo>
                      <a:pt x="11336" y="462585"/>
                    </a:lnTo>
                    <a:lnTo>
                      <a:pt x="24984" y="505349"/>
                    </a:lnTo>
                    <a:lnTo>
                      <a:pt x="43490" y="545691"/>
                    </a:lnTo>
                    <a:lnTo>
                      <a:pt x="66503" y="583263"/>
                    </a:lnTo>
                    <a:lnTo>
                      <a:pt x="93678" y="617717"/>
                    </a:lnTo>
                    <a:lnTo>
                      <a:pt x="124666" y="648705"/>
                    </a:lnTo>
                    <a:lnTo>
                      <a:pt x="159120" y="675881"/>
                    </a:lnTo>
                    <a:lnTo>
                      <a:pt x="196690" y="698895"/>
                    </a:lnTo>
                    <a:lnTo>
                      <a:pt x="237031" y="717400"/>
                    </a:lnTo>
                    <a:lnTo>
                      <a:pt x="279793" y="731049"/>
                    </a:lnTo>
                    <a:lnTo>
                      <a:pt x="324630" y="739493"/>
                    </a:lnTo>
                    <a:lnTo>
                      <a:pt x="371192" y="742385"/>
                    </a:lnTo>
                    <a:close/>
                  </a:path>
                </a:pathLst>
              </a:custGeom>
              <a:solidFill>
                <a:srgbClr val="999999"/>
              </a:solidFill>
              <a:ln w="95250">
                <a:solidFill>
                  <a:srgbClr val="CDD7DC"/>
                </a:solidFill>
              </a:ln>
            </p:spPr>
            <p:txBody>
              <a:bodyPr wrap="square" lIns="0" tIns="0" rIns="0" bIns="0" rtlCol="0"/>
              <a:lstStyle/>
              <a:p>
                <a:endParaRPr sz="1092"/>
              </a:p>
            </p:txBody>
          </p:sp>
        </p:grp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BC690430-82F9-0E6B-CCFC-11FCF7F29F24}"/>
              </a:ext>
            </a:extLst>
          </p:cNvPr>
          <p:cNvGrpSpPr/>
          <p:nvPr userDrawn="1"/>
        </p:nvGrpSpPr>
        <p:grpSpPr>
          <a:xfrm>
            <a:off x="7230467" y="3054447"/>
            <a:ext cx="5861199" cy="3251087"/>
            <a:chOff x="7230467" y="3054447"/>
            <a:chExt cx="5861199" cy="3251087"/>
          </a:xfrm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15B386AE-4D92-311F-297D-752067538905}"/>
                </a:ext>
              </a:extLst>
            </p:cNvPr>
            <p:cNvSpPr/>
            <p:nvPr/>
          </p:nvSpPr>
          <p:spPr bwMode="gray">
            <a:xfrm rot="18900000">
              <a:off x="7230467" y="4768641"/>
              <a:ext cx="5861199" cy="116850"/>
            </a:xfrm>
            <a:custGeom>
              <a:avLst/>
              <a:gdLst>
                <a:gd name="csX0" fmla="*/ 5861199 w 5861199"/>
                <a:gd name="csY0" fmla="*/ 0 h 116850"/>
                <a:gd name="csX1" fmla="*/ 5744349 w 5861199"/>
                <a:gd name="csY1" fmla="*/ 116850 h 116850"/>
                <a:gd name="csX2" fmla="*/ 116850 w 5861199"/>
                <a:gd name="csY2" fmla="*/ 116850 h 116850"/>
                <a:gd name="csX3" fmla="*/ 0 w 5861199"/>
                <a:gd name="csY3" fmla="*/ 0 h 11685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</a:cxnLst>
              <a:rect l="l" t="t" r="r" b="b"/>
              <a:pathLst>
                <a:path w="5861199" h="116850">
                  <a:moveTo>
                    <a:pt x="5861199" y="0"/>
                  </a:moveTo>
                  <a:lnTo>
                    <a:pt x="5744349" y="116850"/>
                  </a:lnTo>
                  <a:lnTo>
                    <a:pt x="116850" y="1168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2231A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092"/>
            </a:p>
          </p:txBody>
        </p:sp>
        <p:sp>
          <p:nvSpPr>
            <p:cNvPr id="12" name="object 25">
              <a:extLst>
                <a:ext uri="{FF2B5EF4-FFF2-40B4-BE49-F238E27FC236}">
                  <a16:creationId xmlns:a16="http://schemas.microsoft.com/office/drawing/2014/main" id="{2666BDD6-4392-28B5-F324-BC36EC2B3044}"/>
                </a:ext>
              </a:extLst>
            </p:cNvPr>
            <p:cNvSpPr/>
            <p:nvPr/>
          </p:nvSpPr>
          <p:spPr bwMode="gray">
            <a:xfrm>
              <a:off x="8683184" y="5855008"/>
              <a:ext cx="450526" cy="450526"/>
            </a:xfrm>
            <a:custGeom>
              <a:avLst/>
              <a:gdLst/>
              <a:ahLst/>
              <a:cxnLst/>
              <a:rect l="l" t="t" r="r" b="b"/>
              <a:pathLst>
                <a:path w="742950" h="742950">
                  <a:moveTo>
                    <a:pt x="371192" y="742385"/>
                  </a:moveTo>
                  <a:lnTo>
                    <a:pt x="417755" y="739493"/>
                  </a:lnTo>
                  <a:lnTo>
                    <a:pt x="462592" y="731049"/>
                  </a:lnTo>
                  <a:lnTo>
                    <a:pt x="505354" y="717400"/>
                  </a:lnTo>
                  <a:lnTo>
                    <a:pt x="545694" y="698895"/>
                  </a:lnTo>
                  <a:lnTo>
                    <a:pt x="583265" y="675881"/>
                  </a:lnTo>
                  <a:lnTo>
                    <a:pt x="617718" y="648705"/>
                  </a:lnTo>
                  <a:lnTo>
                    <a:pt x="648706" y="617717"/>
                  </a:lnTo>
                  <a:lnTo>
                    <a:pt x="675881" y="583263"/>
                  </a:lnTo>
                  <a:lnTo>
                    <a:pt x="698895" y="545691"/>
                  </a:lnTo>
                  <a:lnTo>
                    <a:pt x="717400" y="505349"/>
                  </a:lnTo>
                  <a:lnTo>
                    <a:pt x="731049" y="462585"/>
                  </a:lnTo>
                  <a:lnTo>
                    <a:pt x="739493" y="417747"/>
                  </a:lnTo>
                  <a:lnTo>
                    <a:pt x="742385" y="371182"/>
                  </a:lnTo>
                  <a:lnTo>
                    <a:pt x="739493" y="324621"/>
                  </a:lnTo>
                  <a:lnTo>
                    <a:pt x="731049" y="279787"/>
                  </a:lnTo>
                  <a:lnTo>
                    <a:pt x="717400" y="237026"/>
                  </a:lnTo>
                  <a:lnTo>
                    <a:pt x="698895" y="196687"/>
                  </a:lnTo>
                  <a:lnTo>
                    <a:pt x="675881" y="159117"/>
                  </a:lnTo>
                  <a:lnTo>
                    <a:pt x="648706" y="124665"/>
                  </a:lnTo>
                  <a:lnTo>
                    <a:pt x="617718" y="93677"/>
                  </a:lnTo>
                  <a:lnTo>
                    <a:pt x="583265" y="66503"/>
                  </a:lnTo>
                  <a:lnTo>
                    <a:pt x="545694" y="43489"/>
                  </a:lnTo>
                  <a:lnTo>
                    <a:pt x="505354" y="24984"/>
                  </a:lnTo>
                  <a:lnTo>
                    <a:pt x="462592" y="11336"/>
                  </a:lnTo>
                  <a:lnTo>
                    <a:pt x="417755" y="2892"/>
                  </a:lnTo>
                  <a:lnTo>
                    <a:pt x="371192" y="0"/>
                  </a:lnTo>
                  <a:lnTo>
                    <a:pt x="324630" y="2892"/>
                  </a:lnTo>
                  <a:lnTo>
                    <a:pt x="279793" y="11336"/>
                  </a:lnTo>
                  <a:lnTo>
                    <a:pt x="237031" y="24984"/>
                  </a:lnTo>
                  <a:lnTo>
                    <a:pt x="196690" y="43489"/>
                  </a:lnTo>
                  <a:lnTo>
                    <a:pt x="159120" y="66503"/>
                  </a:lnTo>
                  <a:lnTo>
                    <a:pt x="124666" y="93677"/>
                  </a:lnTo>
                  <a:lnTo>
                    <a:pt x="93678" y="124665"/>
                  </a:lnTo>
                  <a:lnTo>
                    <a:pt x="66503" y="159117"/>
                  </a:lnTo>
                  <a:lnTo>
                    <a:pt x="43490" y="196687"/>
                  </a:lnTo>
                  <a:lnTo>
                    <a:pt x="24984" y="237026"/>
                  </a:lnTo>
                  <a:lnTo>
                    <a:pt x="11336" y="279787"/>
                  </a:lnTo>
                  <a:lnTo>
                    <a:pt x="2892" y="324621"/>
                  </a:lnTo>
                  <a:lnTo>
                    <a:pt x="0" y="371182"/>
                  </a:lnTo>
                  <a:lnTo>
                    <a:pt x="2892" y="417747"/>
                  </a:lnTo>
                  <a:lnTo>
                    <a:pt x="11336" y="462585"/>
                  </a:lnTo>
                  <a:lnTo>
                    <a:pt x="24984" y="505349"/>
                  </a:lnTo>
                  <a:lnTo>
                    <a:pt x="43490" y="545691"/>
                  </a:lnTo>
                  <a:lnTo>
                    <a:pt x="66503" y="583263"/>
                  </a:lnTo>
                  <a:lnTo>
                    <a:pt x="93678" y="617717"/>
                  </a:lnTo>
                  <a:lnTo>
                    <a:pt x="124666" y="648705"/>
                  </a:lnTo>
                  <a:lnTo>
                    <a:pt x="159120" y="675881"/>
                  </a:lnTo>
                  <a:lnTo>
                    <a:pt x="196690" y="698895"/>
                  </a:lnTo>
                  <a:lnTo>
                    <a:pt x="237031" y="717400"/>
                  </a:lnTo>
                  <a:lnTo>
                    <a:pt x="279793" y="731049"/>
                  </a:lnTo>
                  <a:lnTo>
                    <a:pt x="324630" y="739493"/>
                  </a:lnTo>
                  <a:lnTo>
                    <a:pt x="371192" y="742385"/>
                  </a:lnTo>
                  <a:close/>
                </a:path>
              </a:pathLst>
            </a:custGeom>
            <a:solidFill>
              <a:srgbClr val="999999"/>
            </a:solidFill>
            <a:ln w="95250">
              <a:solidFill>
                <a:srgbClr val="E2231A"/>
              </a:solidFill>
            </a:ln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D236AF6C-277E-6CC1-7B3D-6AFB83AD113B}"/>
                </a:ext>
              </a:extLst>
            </p:cNvPr>
            <p:cNvGrpSpPr/>
            <p:nvPr/>
          </p:nvGrpSpPr>
          <p:grpSpPr bwMode="gray">
            <a:xfrm rot="2700000">
              <a:off x="9942317" y="4804239"/>
              <a:ext cx="354000" cy="117061"/>
              <a:chOff x="268268" y="1757694"/>
              <a:chExt cx="354000" cy="117061"/>
            </a:xfrm>
          </p:grpSpPr>
          <p:sp>
            <p:nvSpPr>
              <p:cNvPr id="17" name="Rectangle: Rounded Corners 16">
                <a:extLst>
                  <a:ext uri="{FF2B5EF4-FFF2-40B4-BE49-F238E27FC236}">
                    <a16:creationId xmlns:a16="http://schemas.microsoft.com/office/drawing/2014/main" id="{B4614096-25E7-3390-6588-DF943A2429EE}"/>
                  </a:ext>
                </a:extLst>
              </p:cNvPr>
              <p:cNvSpPr/>
              <p:nvPr/>
            </p:nvSpPr>
            <p:spPr bwMode="gray">
              <a:xfrm rot="16200000">
                <a:off x="432448" y="1684934"/>
                <a:ext cx="117060" cy="262581"/>
              </a:xfrm>
              <a:prstGeom prst="roundRect">
                <a:avLst>
                  <a:gd name="adj" fmla="val 50000"/>
                </a:avLst>
              </a:prstGeom>
              <a:solidFill>
                <a:srgbClr val="E2231A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GB" sz="1400" b="1">
                  <a:solidFill>
                    <a:schemeClr val="tx1"/>
                  </a:solidFill>
                  <a:cs typeface="Georgia"/>
                </a:endParaRPr>
              </a:p>
            </p:txBody>
          </p:sp>
          <p:sp>
            <p:nvSpPr>
              <p:cNvPr id="18" name="Rectangle: Rounded Corners 17">
                <a:extLst>
                  <a:ext uri="{FF2B5EF4-FFF2-40B4-BE49-F238E27FC236}">
                    <a16:creationId xmlns:a16="http://schemas.microsoft.com/office/drawing/2014/main" id="{57F554C5-378F-589A-9424-50C055E7F34C}"/>
                  </a:ext>
                </a:extLst>
              </p:cNvPr>
              <p:cNvSpPr/>
              <p:nvPr/>
            </p:nvSpPr>
            <p:spPr bwMode="gray">
              <a:xfrm rot="16200000">
                <a:off x="308967" y="1716995"/>
                <a:ext cx="117060" cy="198458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GB" sz="1400" b="1">
                  <a:solidFill>
                    <a:schemeClr val="tx1"/>
                  </a:solidFill>
                  <a:cs typeface="Georgia"/>
                </a:endParaRPr>
              </a:p>
            </p:txBody>
          </p: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522923A8-3281-3112-F1BE-677B09D75B48}"/>
                </a:ext>
              </a:extLst>
            </p:cNvPr>
            <p:cNvGrpSpPr/>
            <p:nvPr/>
          </p:nvGrpSpPr>
          <p:grpSpPr bwMode="gray">
            <a:xfrm rot="2700000" flipH="1" flipV="1">
              <a:off x="11588561" y="3172916"/>
              <a:ext cx="354000" cy="117061"/>
              <a:chOff x="268268" y="1757694"/>
              <a:chExt cx="354000" cy="117061"/>
            </a:xfrm>
          </p:grpSpPr>
          <p:sp>
            <p:nvSpPr>
              <p:cNvPr id="15" name="Rectangle: Rounded Corners 14">
                <a:extLst>
                  <a:ext uri="{FF2B5EF4-FFF2-40B4-BE49-F238E27FC236}">
                    <a16:creationId xmlns:a16="http://schemas.microsoft.com/office/drawing/2014/main" id="{4A2CAA4F-826F-FACE-800D-27B71F8D74FB}"/>
                  </a:ext>
                </a:extLst>
              </p:cNvPr>
              <p:cNvSpPr/>
              <p:nvPr/>
            </p:nvSpPr>
            <p:spPr bwMode="gray">
              <a:xfrm rot="16200000">
                <a:off x="432448" y="1684934"/>
                <a:ext cx="117060" cy="262581"/>
              </a:xfrm>
              <a:prstGeom prst="roundRect">
                <a:avLst>
                  <a:gd name="adj" fmla="val 50000"/>
                </a:avLst>
              </a:prstGeom>
              <a:solidFill>
                <a:srgbClr val="E2231A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GB" sz="1400" b="1">
                  <a:solidFill>
                    <a:schemeClr val="tx1"/>
                  </a:solidFill>
                  <a:cs typeface="Georgia"/>
                </a:endParaRPr>
              </a:p>
            </p:txBody>
          </p:sp>
          <p:sp>
            <p:nvSpPr>
              <p:cNvPr id="16" name="Rectangle: Rounded Corners 15">
                <a:extLst>
                  <a:ext uri="{FF2B5EF4-FFF2-40B4-BE49-F238E27FC236}">
                    <a16:creationId xmlns:a16="http://schemas.microsoft.com/office/drawing/2014/main" id="{C6328298-40FF-BD16-C305-D59C0C44287C}"/>
                  </a:ext>
                </a:extLst>
              </p:cNvPr>
              <p:cNvSpPr/>
              <p:nvPr/>
            </p:nvSpPr>
            <p:spPr bwMode="gray">
              <a:xfrm rot="16200000">
                <a:off x="308967" y="1716995"/>
                <a:ext cx="117060" cy="198458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GB" sz="1400" b="1">
                  <a:solidFill>
                    <a:schemeClr val="tx1"/>
                  </a:solidFill>
                  <a:cs typeface="Georgia"/>
                </a:endParaRPr>
              </a:p>
            </p:txBody>
          </p:sp>
        </p:grpSp>
      </p:grpSp>
      <p:sp>
        <p:nvSpPr>
          <p:cNvPr id="19" name="Rectangle 18">
            <a:extLst>
              <a:ext uri="{FF2B5EF4-FFF2-40B4-BE49-F238E27FC236}">
                <a16:creationId xmlns:a16="http://schemas.microsoft.com/office/drawing/2014/main" id="{E5EDE4F0-AEA8-AC06-18CA-CC5E4E9619CD}"/>
              </a:ext>
            </a:extLst>
          </p:cNvPr>
          <p:cNvSpPr/>
          <p:nvPr userDrawn="1"/>
        </p:nvSpPr>
        <p:spPr bwMode="gray">
          <a:xfrm rot="5400000">
            <a:off x="-1052203" y="2218861"/>
            <a:ext cx="4547318" cy="109200"/>
          </a:xfrm>
          <a:prstGeom prst="rect">
            <a:avLst/>
          </a:prstGeom>
          <a:solidFill>
            <a:srgbClr val="CDD7DC"/>
          </a:solidFill>
        </p:spPr>
        <p:txBody>
          <a:bodyPr wrap="square" lIns="0" tIns="0" rIns="0" bIns="0" rtlCol="0">
            <a:noAutofit/>
          </a:bodyPr>
          <a:lstStyle/>
          <a:p>
            <a:endParaRPr sz="1092"/>
          </a:p>
        </p:txBody>
      </p:sp>
      <p:sp>
        <p:nvSpPr>
          <p:cNvPr id="20" name="object 25">
            <a:extLst>
              <a:ext uri="{FF2B5EF4-FFF2-40B4-BE49-F238E27FC236}">
                <a16:creationId xmlns:a16="http://schemas.microsoft.com/office/drawing/2014/main" id="{B63014FE-C96F-F9F0-9587-1B58DA3448A1}"/>
              </a:ext>
            </a:extLst>
          </p:cNvPr>
          <p:cNvSpPr/>
          <p:nvPr userDrawn="1"/>
        </p:nvSpPr>
        <p:spPr bwMode="gray">
          <a:xfrm>
            <a:off x="1010942" y="4366630"/>
            <a:ext cx="421029" cy="441147"/>
          </a:xfrm>
          <a:custGeom>
            <a:avLst/>
            <a:gdLst/>
            <a:ahLst/>
            <a:cxnLst/>
            <a:rect l="l" t="t" r="r" b="b"/>
            <a:pathLst>
              <a:path w="742950" h="742950">
                <a:moveTo>
                  <a:pt x="371192" y="742385"/>
                </a:moveTo>
                <a:lnTo>
                  <a:pt x="417755" y="739493"/>
                </a:lnTo>
                <a:lnTo>
                  <a:pt x="462592" y="731049"/>
                </a:lnTo>
                <a:lnTo>
                  <a:pt x="505354" y="717400"/>
                </a:lnTo>
                <a:lnTo>
                  <a:pt x="545694" y="698895"/>
                </a:lnTo>
                <a:lnTo>
                  <a:pt x="583265" y="675881"/>
                </a:lnTo>
                <a:lnTo>
                  <a:pt x="617718" y="648705"/>
                </a:lnTo>
                <a:lnTo>
                  <a:pt x="648706" y="617717"/>
                </a:lnTo>
                <a:lnTo>
                  <a:pt x="675881" y="583263"/>
                </a:lnTo>
                <a:lnTo>
                  <a:pt x="698895" y="545691"/>
                </a:lnTo>
                <a:lnTo>
                  <a:pt x="717400" y="505349"/>
                </a:lnTo>
                <a:lnTo>
                  <a:pt x="731049" y="462585"/>
                </a:lnTo>
                <a:lnTo>
                  <a:pt x="739493" y="417747"/>
                </a:lnTo>
                <a:lnTo>
                  <a:pt x="742385" y="371182"/>
                </a:lnTo>
                <a:lnTo>
                  <a:pt x="739493" y="324621"/>
                </a:lnTo>
                <a:lnTo>
                  <a:pt x="731049" y="279787"/>
                </a:lnTo>
                <a:lnTo>
                  <a:pt x="717400" y="237026"/>
                </a:lnTo>
                <a:lnTo>
                  <a:pt x="698895" y="196687"/>
                </a:lnTo>
                <a:lnTo>
                  <a:pt x="675881" y="159117"/>
                </a:lnTo>
                <a:lnTo>
                  <a:pt x="648706" y="124665"/>
                </a:lnTo>
                <a:lnTo>
                  <a:pt x="617718" y="93677"/>
                </a:lnTo>
                <a:lnTo>
                  <a:pt x="583265" y="66503"/>
                </a:lnTo>
                <a:lnTo>
                  <a:pt x="545694" y="43489"/>
                </a:lnTo>
                <a:lnTo>
                  <a:pt x="505354" y="24984"/>
                </a:lnTo>
                <a:lnTo>
                  <a:pt x="462592" y="11336"/>
                </a:lnTo>
                <a:lnTo>
                  <a:pt x="417755" y="2892"/>
                </a:lnTo>
                <a:lnTo>
                  <a:pt x="371192" y="0"/>
                </a:lnTo>
                <a:lnTo>
                  <a:pt x="324630" y="2892"/>
                </a:lnTo>
                <a:lnTo>
                  <a:pt x="279793" y="11336"/>
                </a:lnTo>
                <a:lnTo>
                  <a:pt x="237031" y="24984"/>
                </a:lnTo>
                <a:lnTo>
                  <a:pt x="196690" y="43489"/>
                </a:lnTo>
                <a:lnTo>
                  <a:pt x="159120" y="66503"/>
                </a:lnTo>
                <a:lnTo>
                  <a:pt x="124666" y="93677"/>
                </a:lnTo>
                <a:lnTo>
                  <a:pt x="93678" y="124665"/>
                </a:lnTo>
                <a:lnTo>
                  <a:pt x="66503" y="159117"/>
                </a:lnTo>
                <a:lnTo>
                  <a:pt x="43490" y="196687"/>
                </a:lnTo>
                <a:lnTo>
                  <a:pt x="24984" y="237026"/>
                </a:lnTo>
                <a:lnTo>
                  <a:pt x="11336" y="279787"/>
                </a:lnTo>
                <a:lnTo>
                  <a:pt x="2892" y="324621"/>
                </a:lnTo>
                <a:lnTo>
                  <a:pt x="0" y="371182"/>
                </a:lnTo>
                <a:lnTo>
                  <a:pt x="2892" y="417747"/>
                </a:lnTo>
                <a:lnTo>
                  <a:pt x="11336" y="462585"/>
                </a:lnTo>
                <a:lnTo>
                  <a:pt x="24984" y="505349"/>
                </a:lnTo>
                <a:lnTo>
                  <a:pt x="43490" y="545691"/>
                </a:lnTo>
                <a:lnTo>
                  <a:pt x="66503" y="583263"/>
                </a:lnTo>
                <a:lnTo>
                  <a:pt x="93678" y="617717"/>
                </a:lnTo>
                <a:lnTo>
                  <a:pt x="124666" y="648705"/>
                </a:lnTo>
                <a:lnTo>
                  <a:pt x="159120" y="675881"/>
                </a:lnTo>
                <a:lnTo>
                  <a:pt x="196690" y="698895"/>
                </a:lnTo>
                <a:lnTo>
                  <a:pt x="237031" y="717400"/>
                </a:lnTo>
                <a:lnTo>
                  <a:pt x="279793" y="731049"/>
                </a:lnTo>
                <a:lnTo>
                  <a:pt x="324630" y="739493"/>
                </a:lnTo>
                <a:lnTo>
                  <a:pt x="371192" y="742385"/>
                </a:lnTo>
                <a:close/>
              </a:path>
            </a:pathLst>
          </a:custGeom>
          <a:solidFill>
            <a:srgbClr val="999999"/>
          </a:solidFill>
          <a:ln w="95250">
            <a:solidFill>
              <a:srgbClr val="CDD7DC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</p:spTree>
    <p:extLst>
      <p:ext uri="{BB962C8B-B14F-4D97-AF65-F5344CB8AC3E}">
        <p14:creationId xmlns:p14="http://schemas.microsoft.com/office/powerpoint/2010/main" val="362740785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2491058-48F1-5C4E-6E7D-D4C6D9162C20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47457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2491058-48F1-5C4E-6E7D-D4C6D9162C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BDB7A60D-FC50-7D14-279E-2544A74A9E6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4F7DB1D-3605-E75B-A5B2-9D990324E0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79400"/>
            <a:ext cx="9601940" cy="522816"/>
          </a:xfrm>
        </p:spPr>
        <p:txBody>
          <a:bodyPr vert="horz" rIns="91440"/>
          <a:lstStyle/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B4E60FE4-FD79-2DDE-E22E-ED965BBC886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0621109" y="173906"/>
            <a:ext cx="1273906" cy="9723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92189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ag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erson using a computer&#10;&#10;AI-generated content may be incorrect.">
            <a:extLst>
              <a:ext uri="{FF2B5EF4-FFF2-40B4-BE49-F238E27FC236}">
                <a16:creationId xmlns:a16="http://schemas.microsoft.com/office/drawing/2014/main" id="{DF72D22E-8A1D-FE85-D3E9-9CDE37F16C12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6E92DC4-08A7-D246-F51F-ED5898DDCAB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44673" y="2803358"/>
            <a:ext cx="3140075" cy="529389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pPr marL="7701">
              <a:spcBef>
                <a:spcPts val="60"/>
              </a:spcBef>
            </a:pPr>
            <a:r>
              <a:rPr lang="en-GB" sz="2400">
                <a:solidFill>
                  <a:srgbClr val="FFFFFF"/>
                </a:solidFill>
                <a:latin typeface="Wix Madefor Text"/>
                <a:cs typeface="Wix Madefor Text"/>
              </a:rPr>
              <a:t>Section</a:t>
            </a:r>
            <a:r>
              <a:rPr lang="en-GB" sz="2400" spc="-181">
                <a:solidFill>
                  <a:srgbClr val="FFFFFF"/>
                </a:solidFill>
                <a:latin typeface="Wix Madefor Text"/>
                <a:cs typeface="Wix Madefor Text"/>
              </a:rPr>
              <a:t> </a:t>
            </a:r>
            <a:r>
              <a:rPr lang="en-GB" sz="2400" spc="27">
                <a:solidFill>
                  <a:srgbClr val="FFFFFF"/>
                </a:solidFill>
                <a:latin typeface="Wix Madefor Text"/>
                <a:cs typeface="Wix Madefor Text"/>
              </a:rPr>
              <a:t>Title</a:t>
            </a:r>
          </a:p>
        </p:txBody>
      </p:sp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B2159111-4C98-13C6-3740-86B4ACE926F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44673" y="3641558"/>
            <a:ext cx="3140075" cy="529389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pPr marL="7701">
              <a:spcBef>
                <a:spcPts val="60"/>
              </a:spcBef>
            </a:pPr>
            <a:r>
              <a:rPr lang="en-GB" sz="2400">
                <a:solidFill>
                  <a:srgbClr val="FFFFFF"/>
                </a:solidFill>
                <a:latin typeface="Wix Madefor Text"/>
                <a:cs typeface="Wix Madefor Text"/>
              </a:rPr>
              <a:t>Date</a:t>
            </a:r>
            <a:endParaRPr lang="en-GB" sz="2400" spc="27">
              <a:solidFill>
                <a:srgbClr val="FFFFFF"/>
              </a:solidFill>
              <a:latin typeface="Wix Madefor Text"/>
              <a:cs typeface="Wix Madefor Text"/>
            </a:endParaRPr>
          </a:p>
        </p:txBody>
      </p:sp>
    </p:spTree>
    <p:extLst>
      <p:ext uri="{BB962C8B-B14F-4D97-AF65-F5344CB8AC3E}">
        <p14:creationId xmlns:p14="http://schemas.microsoft.com/office/powerpoint/2010/main" val="34807138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2030 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diagram of a graph&#10;&#10;AI-generated content may be incorrect.">
            <a:extLst>
              <a:ext uri="{FF2B5EF4-FFF2-40B4-BE49-F238E27FC236}">
                <a16:creationId xmlns:a16="http://schemas.microsoft.com/office/drawing/2014/main" id="{D682800D-D0B3-51B1-FD68-30E00034C516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4502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ditable 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BDB7A60D-FC50-7D14-279E-2544A74A9E6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 descr="A graph with lines and dots&#10;&#10;AI-generated content may be incorrect.">
            <a:extLst>
              <a:ext uri="{FF2B5EF4-FFF2-40B4-BE49-F238E27FC236}">
                <a16:creationId xmlns:a16="http://schemas.microsoft.com/office/drawing/2014/main" id="{A393E0BC-B6C2-5FC1-1373-CFC6981193C6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08260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61DC273-7541-14E1-51CB-B880B2123671}"/>
              </a:ext>
            </a:extLst>
          </p:cNvPr>
          <p:cNvGraphicFramePr>
            <a:graphicFrameLocks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13043433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347" imgH="348" progId="TCLayout.ActiveDocument.1">
                  <p:embed/>
                </p:oleObj>
              </mc:Choice>
              <mc:Fallback>
                <p:oleObj name="think-cell Slide" r:id="rId2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61DC273-7541-14E1-51CB-B880B21236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7A57F81-0868-5A74-6FB1-54F0511651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79400"/>
            <a:ext cx="8204200" cy="52281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7E26C3-8BF9-CE9C-A9A7-43863DC2E68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397001"/>
            <a:ext cx="10236200" cy="477943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pic>
        <p:nvPicPr>
          <p:cNvPr id="5" name="Picture 4" descr="A red sign with white text&#10;&#10;AI-generated content may be incorrect.">
            <a:extLst>
              <a:ext uri="{FF2B5EF4-FFF2-40B4-BE49-F238E27FC236}">
                <a16:creationId xmlns:a16="http://schemas.microsoft.com/office/drawing/2014/main" id="{ACB813ED-3080-97CE-32E2-085BCDA7342B}"/>
              </a:ext>
            </a:extLst>
          </p:cNvPr>
          <p:cNvPicPr>
            <a:picLocks noChangeAspect="1"/>
          </p:cNvPicPr>
          <p:nvPr userDrawn="1"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16900" y="172745"/>
            <a:ext cx="1281293" cy="974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12139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75" r:id="rId3"/>
    <p:sldLayoutId id="2147483676" r:id="rId4"/>
    <p:sldLayoutId id="2147483679" r:id="rId5"/>
    <p:sldLayoutId id="2147483677" r:id="rId6"/>
    <p:sldLayoutId id="2147483663" r:id="rId7"/>
    <p:sldLayoutId id="2147483664" r:id="rId8"/>
    <p:sldLayoutId id="2147483674" r:id="rId9"/>
    <p:sldLayoutId id="2147483665" r:id="rId10"/>
    <p:sldLayoutId id="2147483666" r:id="rId11"/>
    <p:sldLayoutId id="2147483667" r:id="rId12"/>
    <p:sldLayoutId id="2147483668" r:id="rId13"/>
    <p:sldLayoutId id="2147483669" r:id="rId14"/>
    <p:sldLayoutId id="2147483670" r:id="rId15"/>
    <p:sldLayoutId id="2147483671" r:id="rId16"/>
    <p:sldLayoutId id="2147483672" r:id="rId17"/>
    <p:sldLayoutId id="2147483678" r:id="rId18"/>
    <p:sldLayoutId id="2147483680" r:id="rId19"/>
  </p:sldLayoutIdLst>
  <p:txStyles>
    <p:titleStyle>
      <a:lvl1pPr eaLnBrk="1" hangingPunct="1">
        <a:defRPr sz="3200">
          <a:latin typeface="Kings Caslon Display" panose="02000503000000020003" pitchFamily="2" charset="77"/>
          <a:ea typeface="+mj-ea"/>
          <a:cs typeface="+mj-cs"/>
        </a:defRPr>
      </a:lvl1pPr>
    </p:titleStyle>
    <p:bodyStyle>
      <a:lvl1pPr marL="0" eaLnBrk="1" hangingPunct="1">
        <a:defRPr sz="2400" b="0">
          <a:latin typeface="Wix Madefor Text" panose="020B0503020203020203" pitchFamily="34" charset="77"/>
          <a:ea typeface="+mn-ea"/>
          <a:cs typeface="Wix Madefor Text" panose="020B0503020203020203" pitchFamily="34" charset="77"/>
        </a:defRPr>
      </a:lvl1pPr>
      <a:lvl2pPr marL="277272" eaLnBrk="1" hangingPunct="1">
        <a:defRPr sz="2400">
          <a:latin typeface="Wix Madefor Text" panose="020B0503020203020203" pitchFamily="34" charset="77"/>
          <a:ea typeface="+mn-ea"/>
          <a:cs typeface="Wix Madefor Text" panose="020B0503020203020203" pitchFamily="34" charset="77"/>
        </a:defRPr>
      </a:lvl2pPr>
      <a:lvl3pPr marL="554541" eaLnBrk="1" hangingPunct="1">
        <a:defRPr sz="2133">
          <a:latin typeface="Wix Madefor Text" panose="020B0503020203020203" pitchFamily="34" charset="77"/>
          <a:ea typeface="+mn-ea"/>
          <a:cs typeface="Wix Madefor Text" panose="020B0503020203020203" pitchFamily="34" charset="77"/>
        </a:defRPr>
      </a:lvl3pPr>
      <a:lvl4pPr marL="831813" eaLnBrk="1" hangingPunct="1">
        <a:defRPr sz="1867">
          <a:latin typeface="Wix Madefor Text" panose="020B0503020203020203" pitchFamily="34" charset="77"/>
          <a:ea typeface="+mn-ea"/>
          <a:cs typeface="Wix Madefor Text" panose="020B0503020203020203" pitchFamily="34" charset="77"/>
        </a:defRPr>
      </a:lvl4pPr>
      <a:lvl5pPr marL="1109083" eaLnBrk="1" hangingPunct="1">
        <a:defRPr sz="1600">
          <a:latin typeface="Wix Madefor Text" panose="020B0503020203020203" pitchFamily="34" charset="77"/>
          <a:ea typeface="+mn-ea"/>
          <a:cs typeface="Wix Madefor Text" panose="020B0503020203020203" pitchFamily="34" charset="77"/>
        </a:defRPr>
      </a:lvl5pPr>
      <a:lvl6pPr marL="1386355" eaLnBrk="1" hangingPunct="1">
        <a:defRPr>
          <a:latin typeface="+mn-lt"/>
          <a:ea typeface="+mn-ea"/>
          <a:cs typeface="+mn-cs"/>
        </a:defRPr>
      </a:lvl6pPr>
      <a:lvl7pPr marL="1663624" eaLnBrk="1" hangingPunct="1">
        <a:defRPr>
          <a:latin typeface="+mn-lt"/>
          <a:ea typeface="+mn-ea"/>
          <a:cs typeface="+mn-cs"/>
        </a:defRPr>
      </a:lvl7pPr>
      <a:lvl8pPr marL="1940895" eaLnBrk="1" hangingPunct="1">
        <a:defRPr>
          <a:latin typeface="+mn-lt"/>
          <a:ea typeface="+mn-ea"/>
          <a:cs typeface="+mn-cs"/>
        </a:defRPr>
      </a:lvl8pPr>
      <a:lvl9pPr marL="2218166" eaLnBrk="1" hangingPunct="1">
        <a:defRPr>
          <a:latin typeface="+mn-lt"/>
          <a:ea typeface="+mn-ea"/>
          <a:cs typeface="+mn-cs"/>
        </a:defRPr>
      </a:lvl9pPr>
    </p:bodyStyle>
    <p:otherStyle>
      <a:lvl1pPr marL="0" eaLnBrk="1" hangingPunct="1">
        <a:defRPr>
          <a:latin typeface="+mn-lt"/>
          <a:ea typeface="+mn-ea"/>
          <a:cs typeface="+mn-cs"/>
        </a:defRPr>
      </a:lvl1pPr>
      <a:lvl2pPr marL="277272" eaLnBrk="1" hangingPunct="1">
        <a:defRPr>
          <a:latin typeface="+mn-lt"/>
          <a:ea typeface="+mn-ea"/>
          <a:cs typeface="+mn-cs"/>
        </a:defRPr>
      </a:lvl2pPr>
      <a:lvl3pPr marL="554541" eaLnBrk="1" hangingPunct="1">
        <a:defRPr>
          <a:latin typeface="+mn-lt"/>
          <a:ea typeface="+mn-ea"/>
          <a:cs typeface="+mn-cs"/>
        </a:defRPr>
      </a:lvl3pPr>
      <a:lvl4pPr marL="831813" eaLnBrk="1" hangingPunct="1">
        <a:defRPr>
          <a:latin typeface="+mn-lt"/>
          <a:ea typeface="+mn-ea"/>
          <a:cs typeface="+mn-cs"/>
        </a:defRPr>
      </a:lvl4pPr>
      <a:lvl5pPr marL="1109083" eaLnBrk="1" hangingPunct="1">
        <a:defRPr>
          <a:latin typeface="+mn-lt"/>
          <a:ea typeface="+mn-ea"/>
          <a:cs typeface="+mn-cs"/>
        </a:defRPr>
      </a:lvl5pPr>
      <a:lvl6pPr marL="1386355" eaLnBrk="1" hangingPunct="1">
        <a:defRPr>
          <a:latin typeface="+mn-lt"/>
          <a:ea typeface="+mn-ea"/>
          <a:cs typeface="+mn-cs"/>
        </a:defRPr>
      </a:lvl6pPr>
      <a:lvl7pPr marL="1663624" eaLnBrk="1" hangingPunct="1">
        <a:defRPr>
          <a:latin typeface="+mn-lt"/>
          <a:ea typeface="+mn-ea"/>
          <a:cs typeface="+mn-cs"/>
        </a:defRPr>
      </a:lvl7pPr>
      <a:lvl8pPr marL="1940895" eaLnBrk="1" hangingPunct="1">
        <a:defRPr>
          <a:latin typeface="+mn-lt"/>
          <a:ea typeface="+mn-ea"/>
          <a:cs typeface="+mn-cs"/>
        </a:defRPr>
      </a:lvl8pPr>
      <a:lvl9pPr marL="2218166" eaLnBrk="1" hangingPunct="1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.xml"/><Relationship Id="rId6" Type="http://schemas.openxmlformats.org/officeDocument/2006/relationships/image" Target="../media/image11.jp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4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81491B6-FE0F-1C5E-2EAD-DAAB8ABE04D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 sz="2400" b="1" dirty="0"/>
              <a:t>Professor Rachel A Mills, CBE</a:t>
            </a:r>
          </a:p>
          <a:p>
            <a:endParaRPr lang="en-US" sz="2400" b="1" dirty="0"/>
          </a:p>
          <a:p>
            <a:r>
              <a:rPr lang="en-US" sz="2400" b="1" dirty="0"/>
              <a:t>From Principles to Practice: King’s Framework for Academic Freedom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CDB5BBD-6AD4-A3EF-F9EE-CC0F49935DA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199199" y="5676016"/>
            <a:ext cx="5321300" cy="613739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>
                <a:latin typeface="Wix Madefor Text"/>
              </a:rPr>
              <a:t>7 May 2026</a:t>
            </a:r>
          </a:p>
        </p:txBody>
      </p:sp>
    </p:spTree>
    <p:extLst>
      <p:ext uri="{BB962C8B-B14F-4D97-AF65-F5344CB8AC3E}">
        <p14:creationId xmlns:p14="http://schemas.microsoft.com/office/powerpoint/2010/main" val="9126980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F4E7419-DA38-209B-6A90-C9CF39E751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B8D7CEA-5425-7738-5E89-D68D97725001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52826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39" imgH="639" progId="TCLayout.ActiveDocument.1">
                  <p:embed/>
                </p:oleObj>
              </mc:Choice>
              <mc:Fallback>
                <p:oleObj name="think-cell Slide" r:id="rId4" imgW="639" imgH="639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8D7CEA-5425-7738-5E89-D68D977250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object 25">
            <a:extLst>
              <a:ext uri="{FF2B5EF4-FFF2-40B4-BE49-F238E27FC236}">
                <a16:creationId xmlns:a16="http://schemas.microsoft.com/office/drawing/2014/main" id="{B8A435FF-A9BB-4016-1AE2-3D1BF5D14918}"/>
              </a:ext>
            </a:extLst>
          </p:cNvPr>
          <p:cNvSpPr/>
          <p:nvPr/>
        </p:nvSpPr>
        <p:spPr bwMode="gray">
          <a:xfrm>
            <a:off x="1010942" y="1001255"/>
            <a:ext cx="421029" cy="441147"/>
          </a:xfrm>
          <a:custGeom>
            <a:avLst/>
            <a:gdLst/>
            <a:ahLst/>
            <a:cxnLst/>
            <a:rect l="l" t="t" r="r" b="b"/>
            <a:pathLst>
              <a:path w="742950" h="742950">
                <a:moveTo>
                  <a:pt x="371192" y="742385"/>
                </a:moveTo>
                <a:lnTo>
                  <a:pt x="417755" y="739493"/>
                </a:lnTo>
                <a:lnTo>
                  <a:pt x="462592" y="731049"/>
                </a:lnTo>
                <a:lnTo>
                  <a:pt x="505354" y="717400"/>
                </a:lnTo>
                <a:lnTo>
                  <a:pt x="545694" y="698895"/>
                </a:lnTo>
                <a:lnTo>
                  <a:pt x="583265" y="675881"/>
                </a:lnTo>
                <a:lnTo>
                  <a:pt x="617718" y="648705"/>
                </a:lnTo>
                <a:lnTo>
                  <a:pt x="648706" y="617717"/>
                </a:lnTo>
                <a:lnTo>
                  <a:pt x="675881" y="583263"/>
                </a:lnTo>
                <a:lnTo>
                  <a:pt x="698895" y="545691"/>
                </a:lnTo>
                <a:lnTo>
                  <a:pt x="717400" y="505349"/>
                </a:lnTo>
                <a:lnTo>
                  <a:pt x="731049" y="462585"/>
                </a:lnTo>
                <a:lnTo>
                  <a:pt x="739493" y="417747"/>
                </a:lnTo>
                <a:lnTo>
                  <a:pt x="742385" y="371182"/>
                </a:lnTo>
                <a:lnTo>
                  <a:pt x="739493" y="324621"/>
                </a:lnTo>
                <a:lnTo>
                  <a:pt x="731049" y="279787"/>
                </a:lnTo>
                <a:lnTo>
                  <a:pt x="717400" y="237026"/>
                </a:lnTo>
                <a:lnTo>
                  <a:pt x="698895" y="196687"/>
                </a:lnTo>
                <a:lnTo>
                  <a:pt x="675881" y="159117"/>
                </a:lnTo>
                <a:lnTo>
                  <a:pt x="648706" y="124665"/>
                </a:lnTo>
                <a:lnTo>
                  <a:pt x="617718" y="93677"/>
                </a:lnTo>
                <a:lnTo>
                  <a:pt x="583265" y="66503"/>
                </a:lnTo>
                <a:lnTo>
                  <a:pt x="545694" y="43489"/>
                </a:lnTo>
                <a:lnTo>
                  <a:pt x="505354" y="24984"/>
                </a:lnTo>
                <a:lnTo>
                  <a:pt x="462592" y="11336"/>
                </a:lnTo>
                <a:lnTo>
                  <a:pt x="417755" y="2892"/>
                </a:lnTo>
                <a:lnTo>
                  <a:pt x="371192" y="0"/>
                </a:lnTo>
                <a:lnTo>
                  <a:pt x="324630" y="2892"/>
                </a:lnTo>
                <a:lnTo>
                  <a:pt x="279793" y="11336"/>
                </a:lnTo>
                <a:lnTo>
                  <a:pt x="237031" y="24984"/>
                </a:lnTo>
                <a:lnTo>
                  <a:pt x="196690" y="43489"/>
                </a:lnTo>
                <a:lnTo>
                  <a:pt x="159120" y="66503"/>
                </a:lnTo>
                <a:lnTo>
                  <a:pt x="124666" y="93677"/>
                </a:lnTo>
                <a:lnTo>
                  <a:pt x="93678" y="124665"/>
                </a:lnTo>
                <a:lnTo>
                  <a:pt x="66503" y="159117"/>
                </a:lnTo>
                <a:lnTo>
                  <a:pt x="43490" y="196687"/>
                </a:lnTo>
                <a:lnTo>
                  <a:pt x="24984" y="237026"/>
                </a:lnTo>
                <a:lnTo>
                  <a:pt x="11336" y="279787"/>
                </a:lnTo>
                <a:lnTo>
                  <a:pt x="2892" y="324621"/>
                </a:lnTo>
                <a:lnTo>
                  <a:pt x="0" y="371182"/>
                </a:lnTo>
                <a:lnTo>
                  <a:pt x="2892" y="417747"/>
                </a:lnTo>
                <a:lnTo>
                  <a:pt x="11336" y="462585"/>
                </a:lnTo>
                <a:lnTo>
                  <a:pt x="24984" y="505349"/>
                </a:lnTo>
                <a:lnTo>
                  <a:pt x="43490" y="545691"/>
                </a:lnTo>
                <a:lnTo>
                  <a:pt x="66503" y="583263"/>
                </a:lnTo>
                <a:lnTo>
                  <a:pt x="93678" y="617717"/>
                </a:lnTo>
                <a:lnTo>
                  <a:pt x="124666" y="648705"/>
                </a:lnTo>
                <a:lnTo>
                  <a:pt x="159120" y="675881"/>
                </a:lnTo>
                <a:lnTo>
                  <a:pt x="196690" y="698895"/>
                </a:lnTo>
                <a:lnTo>
                  <a:pt x="237031" y="717400"/>
                </a:lnTo>
                <a:lnTo>
                  <a:pt x="279793" y="731049"/>
                </a:lnTo>
                <a:lnTo>
                  <a:pt x="324630" y="739493"/>
                </a:lnTo>
                <a:lnTo>
                  <a:pt x="371192" y="742385"/>
                </a:lnTo>
                <a:close/>
              </a:path>
            </a:pathLst>
          </a:custGeom>
          <a:solidFill>
            <a:srgbClr val="999999"/>
          </a:solidFill>
          <a:ln w="95250">
            <a:solidFill>
              <a:srgbClr val="CDD7DC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8" name="object 25">
            <a:extLst>
              <a:ext uri="{FF2B5EF4-FFF2-40B4-BE49-F238E27FC236}">
                <a16:creationId xmlns:a16="http://schemas.microsoft.com/office/drawing/2014/main" id="{D1341198-8AF5-91E3-EFE1-A7F4DFCD4B82}"/>
              </a:ext>
            </a:extLst>
          </p:cNvPr>
          <p:cNvSpPr/>
          <p:nvPr/>
        </p:nvSpPr>
        <p:spPr bwMode="gray">
          <a:xfrm>
            <a:off x="1010942" y="2683943"/>
            <a:ext cx="421029" cy="441147"/>
          </a:xfrm>
          <a:custGeom>
            <a:avLst/>
            <a:gdLst/>
            <a:ahLst/>
            <a:cxnLst/>
            <a:rect l="l" t="t" r="r" b="b"/>
            <a:pathLst>
              <a:path w="742950" h="742950">
                <a:moveTo>
                  <a:pt x="371192" y="742385"/>
                </a:moveTo>
                <a:lnTo>
                  <a:pt x="417755" y="739493"/>
                </a:lnTo>
                <a:lnTo>
                  <a:pt x="462592" y="731049"/>
                </a:lnTo>
                <a:lnTo>
                  <a:pt x="505354" y="717400"/>
                </a:lnTo>
                <a:lnTo>
                  <a:pt x="545694" y="698895"/>
                </a:lnTo>
                <a:lnTo>
                  <a:pt x="583265" y="675881"/>
                </a:lnTo>
                <a:lnTo>
                  <a:pt x="617718" y="648705"/>
                </a:lnTo>
                <a:lnTo>
                  <a:pt x="648706" y="617717"/>
                </a:lnTo>
                <a:lnTo>
                  <a:pt x="675881" y="583263"/>
                </a:lnTo>
                <a:lnTo>
                  <a:pt x="698895" y="545691"/>
                </a:lnTo>
                <a:lnTo>
                  <a:pt x="717400" y="505349"/>
                </a:lnTo>
                <a:lnTo>
                  <a:pt x="731049" y="462585"/>
                </a:lnTo>
                <a:lnTo>
                  <a:pt x="739493" y="417747"/>
                </a:lnTo>
                <a:lnTo>
                  <a:pt x="742385" y="371182"/>
                </a:lnTo>
                <a:lnTo>
                  <a:pt x="739493" y="324621"/>
                </a:lnTo>
                <a:lnTo>
                  <a:pt x="731049" y="279787"/>
                </a:lnTo>
                <a:lnTo>
                  <a:pt x="717400" y="237026"/>
                </a:lnTo>
                <a:lnTo>
                  <a:pt x="698895" y="196687"/>
                </a:lnTo>
                <a:lnTo>
                  <a:pt x="675881" y="159117"/>
                </a:lnTo>
                <a:lnTo>
                  <a:pt x="648706" y="124665"/>
                </a:lnTo>
                <a:lnTo>
                  <a:pt x="617718" y="93677"/>
                </a:lnTo>
                <a:lnTo>
                  <a:pt x="583265" y="66503"/>
                </a:lnTo>
                <a:lnTo>
                  <a:pt x="545694" y="43489"/>
                </a:lnTo>
                <a:lnTo>
                  <a:pt x="505354" y="24984"/>
                </a:lnTo>
                <a:lnTo>
                  <a:pt x="462592" y="11336"/>
                </a:lnTo>
                <a:lnTo>
                  <a:pt x="417755" y="2892"/>
                </a:lnTo>
                <a:lnTo>
                  <a:pt x="371192" y="0"/>
                </a:lnTo>
                <a:lnTo>
                  <a:pt x="324630" y="2892"/>
                </a:lnTo>
                <a:lnTo>
                  <a:pt x="279793" y="11336"/>
                </a:lnTo>
                <a:lnTo>
                  <a:pt x="237031" y="24984"/>
                </a:lnTo>
                <a:lnTo>
                  <a:pt x="196690" y="43489"/>
                </a:lnTo>
                <a:lnTo>
                  <a:pt x="159120" y="66503"/>
                </a:lnTo>
                <a:lnTo>
                  <a:pt x="124666" y="93677"/>
                </a:lnTo>
                <a:lnTo>
                  <a:pt x="93678" y="124665"/>
                </a:lnTo>
                <a:lnTo>
                  <a:pt x="66503" y="159117"/>
                </a:lnTo>
                <a:lnTo>
                  <a:pt x="43490" y="196687"/>
                </a:lnTo>
                <a:lnTo>
                  <a:pt x="24984" y="237026"/>
                </a:lnTo>
                <a:lnTo>
                  <a:pt x="11336" y="279787"/>
                </a:lnTo>
                <a:lnTo>
                  <a:pt x="2892" y="324621"/>
                </a:lnTo>
                <a:lnTo>
                  <a:pt x="0" y="371182"/>
                </a:lnTo>
                <a:lnTo>
                  <a:pt x="2892" y="417747"/>
                </a:lnTo>
                <a:lnTo>
                  <a:pt x="11336" y="462585"/>
                </a:lnTo>
                <a:lnTo>
                  <a:pt x="24984" y="505349"/>
                </a:lnTo>
                <a:lnTo>
                  <a:pt x="43490" y="545691"/>
                </a:lnTo>
                <a:lnTo>
                  <a:pt x="66503" y="583263"/>
                </a:lnTo>
                <a:lnTo>
                  <a:pt x="93678" y="617717"/>
                </a:lnTo>
                <a:lnTo>
                  <a:pt x="124666" y="648705"/>
                </a:lnTo>
                <a:lnTo>
                  <a:pt x="159120" y="675881"/>
                </a:lnTo>
                <a:lnTo>
                  <a:pt x="196690" y="698895"/>
                </a:lnTo>
                <a:lnTo>
                  <a:pt x="237031" y="717400"/>
                </a:lnTo>
                <a:lnTo>
                  <a:pt x="279793" y="731049"/>
                </a:lnTo>
                <a:lnTo>
                  <a:pt x="324630" y="739493"/>
                </a:lnTo>
                <a:lnTo>
                  <a:pt x="371192" y="742385"/>
                </a:lnTo>
                <a:close/>
              </a:path>
            </a:pathLst>
          </a:custGeom>
          <a:solidFill>
            <a:srgbClr val="999999"/>
          </a:solidFill>
          <a:ln w="95250">
            <a:solidFill>
              <a:srgbClr val="CDD7DC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0E2CA765-EA4E-A670-932D-017D4E69BFF8}"/>
              </a:ext>
            </a:extLst>
          </p:cNvPr>
          <p:cNvSpPr txBox="1">
            <a:spLocks/>
          </p:cNvSpPr>
          <p:nvPr/>
        </p:nvSpPr>
        <p:spPr>
          <a:xfrm>
            <a:off x="1847526" y="760114"/>
            <a:ext cx="7806119" cy="98488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eaLnBrk="1" hangingPunct="1">
              <a:defRPr sz="2400" b="0">
                <a:latin typeface="Wix Madefor Text" panose="020B0503020203020203" pitchFamily="34" charset="77"/>
                <a:ea typeface="+mn-ea"/>
                <a:cs typeface="Wix Madefor Text" panose="020B0503020203020203" pitchFamily="34" charset="77"/>
              </a:defRPr>
            </a:lvl1pPr>
            <a:lvl2pPr marL="277272" eaLnBrk="1" hangingPunct="1">
              <a:defRPr sz="2400">
                <a:latin typeface="Wix Madefor Text" panose="020B0503020203020203" pitchFamily="34" charset="77"/>
                <a:ea typeface="+mn-ea"/>
                <a:cs typeface="Wix Madefor Text" panose="020B0503020203020203" pitchFamily="34" charset="77"/>
              </a:defRPr>
            </a:lvl2pPr>
            <a:lvl3pPr marL="554541" eaLnBrk="1" hangingPunct="1">
              <a:defRPr sz="2133">
                <a:latin typeface="Wix Madefor Text" panose="020B0503020203020203" pitchFamily="34" charset="77"/>
                <a:ea typeface="+mn-ea"/>
                <a:cs typeface="Wix Madefor Text" panose="020B0503020203020203" pitchFamily="34" charset="77"/>
              </a:defRPr>
            </a:lvl3pPr>
            <a:lvl4pPr marL="831813" eaLnBrk="1" hangingPunct="1">
              <a:defRPr sz="1867">
                <a:latin typeface="Wix Madefor Text" panose="020B0503020203020203" pitchFamily="34" charset="77"/>
                <a:ea typeface="+mn-ea"/>
                <a:cs typeface="Wix Madefor Text" panose="020B0503020203020203" pitchFamily="34" charset="77"/>
              </a:defRPr>
            </a:lvl4pPr>
            <a:lvl5pPr marL="1109083" eaLnBrk="1" hangingPunct="1">
              <a:defRPr sz="1600">
                <a:latin typeface="Wix Madefor Text" panose="020B0503020203020203" pitchFamily="34" charset="77"/>
                <a:ea typeface="+mn-ea"/>
                <a:cs typeface="Wix Madefor Text" panose="020B0503020203020203" pitchFamily="34" charset="77"/>
              </a:defRPr>
            </a:lvl5pPr>
            <a:lvl6pPr marL="1386355" eaLnBrk="1" hangingPunct="1">
              <a:defRPr>
                <a:latin typeface="+mn-lt"/>
                <a:ea typeface="+mn-ea"/>
                <a:cs typeface="+mn-cs"/>
              </a:defRPr>
            </a:lvl6pPr>
            <a:lvl7pPr marL="1663624" eaLnBrk="1" hangingPunct="1">
              <a:defRPr>
                <a:latin typeface="+mn-lt"/>
                <a:ea typeface="+mn-ea"/>
                <a:cs typeface="+mn-cs"/>
              </a:defRPr>
            </a:lvl7pPr>
            <a:lvl8pPr marL="1940895" eaLnBrk="1" hangingPunct="1">
              <a:defRPr>
                <a:latin typeface="+mn-lt"/>
                <a:ea typeface="+mn-ea"/>
                <a:cs typeface="+mn-cs"/>
              </a:defRPr>
            </a:lvl8pPr>
            <a:lvl9pPr marL="2218166" eaLnBrk="1" hangingPunct="1">
              <a:defRPr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1800"/>
              </a:spcAft>
            </a:pPr>
            <a:r>
              <a:rPr lang="en-GB" sz="3200" b="1" kern="0" dirty="0">
                <a:latin typeface="+mn-lt"/>
              </a:rPr>
              <a:t>UK context: 2023 Higher Education (Freedom of Speech) Act came into effect 1 Aug 2025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06A2EAC-A28E-36BE-674A-05E64AA2AA34}"/>
              </a:ext>
            </a:extLst>
          </p:cNvPr>
          <p:cNvSpPr txBox="1">
            <a:spLocks/>
          </p:cNvSpPr>
          <p:nvPr/>
        </p:nvSpPr>
        <p:spPr>
          <a:xfrm>
            <a:off x="1847526" y="2321004"/>
            <a:ext cx="9308570" cy="110799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eaLnBrk="1" hangingPunct="1">
              <a:defRPr sz="2400" b="0">
                <a:latin typeface="Wix Madefor Text" panose="020B0503020203020203" pitchFamily="34" charset="77"/>
                <a:ea typeface="+mn-ea"/>
                <a:cs typeface="Wix Madefor Text" panose="020B0503020203020203" pitchFamily="34" charset="77"/>
              </a:defRPr>
            </a:lvl1pPr>
            <a:lvl2pPr marL="277272" eaLnBrk="1" hangingPunct="1">
              <a:defRPr sz="2400">
                <a:latin typeface="Wix Madefor Text" panose="020B0503020203020203" pitchFamily="34" charset="77"/>
                <a:ea typeface="+mn-ea"/>
                <a:cs typeface="Wix Madefor Text" panose="020B0503020203020203" pitchFamily="34" charset="77"/>
              </a:defRPr>
            </a:lvl2pPr>
            <a:lvl3pPr marL="554541" eaLnBrk="1" hangingPunct="1">
              <a:defRPr sz="2133">
                <a:latin typeface="Wix Madefor Text" panose="020B0503020203020203" pitchFamily="34" charset="77"/>
                <a:ea typeface="+mn-ea"/>
                <a:cs typeface="Wix Madefor Text" panose="020B0503020203020203" pitchFamily="34" charset="77"/>
              </a:defRPr>
            </a:lvl3pPr>
            <a:lvl4pPr marL="831813" eaLnBrk="1" hangingPunct="1">
              <a:defRPr sz="1867">
                <a:latin typeface="Wix Madefor Text" panose="020B0503020203020203" pitchFamily="34" charset="77"/>
                <a:ea typeface="+mn-ea"/>
                <a:cs typeface="Wix Madefor Text" panose="020B0503020203020203" pitchFamily="34" charset="77"/>
              </a:defRPr>
            </a:lvl4pPr>
            <a:lvl5pPr marL="1109083" eaLnBrk="1" hangingPunct="1">
              <a:defRPr sz="1600">
                <a:latin typeface="Wix Madefor Text" panose="020B0503020203020203" pitchFamily="34" charset="77"/>
                <a:ea typeface="+mn-ea"/>
                <a:cs typeface="Wix Madefor Text" panose="020B0503020203020203" pitchFamily="34" charset="77"/>
              </a:defRPr>
            </a:lvl5pPr>
            <a:lvl6pPr marL="1386355" eaLnBrk="1" hangingPunct="1">
              <a:defRPr>
                <a:latin typeface="+mn-lt"/>
                <a:ea typeface="+mn-ea"/>
                <a:cs typeface="+mn-cs"/>
              </a:defRPr>
            </a:lvl6pPr>
            <a:lvl7pPr marL="1663624" eaLnBrk="1" hangingPunct="1">
              <a:defRPr>
                <a:latin typeface="+mn-lt"/>
                <a:ea typeface="+mn-ea"/>
                <a:cs typeface="+mn-cs"/>
              </a:defRPr>
            </a:lvl7pPr>
            <a:lvl8pPr marL="1940895" eaLnBrk="1" hangingPunct="1">
              <a:defRPr>
                <a:latin typeface="+mn-lt"/>
                <a:ea typeface="+mn-ea"/>
                <a:cs typeface="+mn-cs"/>
              </a:defRPr>
            </a:lvl8pPr>
            <a:lvl9pPr marL="2218166" eaLnBrk="1" hangingPunct="1">
              <a:defRPr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1800"/>
              </a:spcAft>
            </a:pPr>
            <a:r>
              <a:rPr lang="en-GB" dirty="0"/>
              <a:t>King’s Charter and Statutes provide autonomous, research‑intensive mission; the 2025 Code of Practice spells out protections of academic freedom and freedom of expression within that constitutional framework.</a:t>
            </a:r>
            <a:endParaRPr lang="en-GB" sz="3600" b="1" kern="0" dirty="0">
              <a:latin typeface="+mn-lt"/>
            </a:endParaRP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277A35D7-4CCF-70DF-FAE4-192468E70BEF}"/>
              </a:ext>
            </a:extLst>
          </p:cNvPr>
          <p:cNvSpPr txBox="1">
            <a:spLocks/>
          </p:cNvSpPr>
          <p:nvPr/>
        </p:nvSpPr>
        <p:spPr>
          <a:xfrm>
            <a:off x="1847526" y="4005005"/>
            <a:ext cx="3903059" cy="92333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eaLnBrk="1" hangingPunct="1">
              <a:defRPr sz="2400" b="0">
                <a:latin typeface="Wix Madefor Text" panose="020B0503020203020203" pitchFamily="34" charset="77"/>
                <a:ea typeface="+mn-ea"/>
                <a:cs typeface="Wix Madefor Text" panose="020B0503020203020203" pitchFamily="34" charset="77"/>
              </a:defRPr>
            </a:lvl1pPr>
            <a:lvl2pPr marL="277272" eaLnBrk="1" hangingPunct="1">
              <a:defRPr sz="2400">
                <a:latin typeface="Wix Madefor Text" panose="020B0503020203020203" pitchFamily="34" charset="77"/>
                <a:ea typeface="+mn-ea"/>
                <a:cs typeface="Wix Madefor Text" panose="020B0503020203020203" pitchFamily="34" charset="77"/>
              </a:defRPr>
            </a:lvl2pPr>
            <a:lvl3pPr marL="554541" eaLnBrk="1" hangingPunct="1">
              <a:defRPr sz="2133">
                <a:latin typeface="Wix Madefor Text" panose="020B0503020203020203" pitchFamily="34" charset="77"/>
                <a:ea typeface="+mn-ea"/>
                <a:cs typeface="Wix Madefor Text" panose="020B0503020203020203" pitchFamily="34" charset="77"/>
              </a:defRPr>
            </a:lvl3pPr>
            <a:lvl4pPr marL="831813" eaLnBrk="1" hangingPunct="1">
              <a:defRPr sz="1867">
                <a:latin typeface="Wix Madefor Text" panose="020B0503020203020203" pitchFamily="34" charset="77"/>
                <a:ea typeface="+mn-ea"/>
                <a:cs typeface="Wix Madefor Text" panose="020B0503020203020203" pitchFamily="34" charset="77"/>
              </a:defRPr>
            </a:lvl4pPr>
            <a:lvl5pPr marL="1109083" eaLnBrk="1" hangingPunct="1">
              <a:defRPr sz="1600">
                <a:latin typeface="Wix Madefor Text" panose="020B0503020203020203" pitchFamily="34" charset="77"/>
                <a:ea typeface="+mn-ea"/>
                <a:cs typeface="Wix Madefor Text" panose="020B0503020203020203" pitchFamily="34" charset="77"/>
              </a:defRPr>
            </a:lvl5pPr>
            <a:lvl6pPr marL="1386355" eaLnBrk="1" hangingPunct="1">
              <a:defRPr>
                <a:latin typeface="+mn-lt"/>
                <a:ea typeface="+mn-ea"/>
                <a:cs typeface="+mn-cs"/>
              </a:defRPr>
            </a:lvl6pPr>
            <a:lvl7pPr marL="1663624" eaLnBrk="1" hangingPunct="1">
              <a:defRPr>
                <a:latin typeface="+mn-lt"/>
                <a:ea typeface="+mn-ea"/>
                <a:cs typeface="+mn-cs"/>
              </a:defRPr>
            </a:lvl7pPr>
            <a:lvl8pPr marL="1940895" eaLnBrk="1" hangingPunct="1">
              <a:defRPr>
                <a:latin typeface="+mn-lt"/>
                <a:ea typeface="+mn-ea"/>
                <a:cs typeface="+mn-cs"/>
              </a:defRPr>
            </a:lvl8pPr>
            <a:lvl9pPr marL="2218166" eaLnBrk="1" hangingPunct="1">
              <a:defRPr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1800"/>
              </a:spcAft>
            </a:pPr>
            <a:r>
              <a:rPr lang="en-GB" sz="2000" b="1" dirty="0">
                <a:latin typeface="+mn-lt"/>
              </a:rPr>
              <a:t>https://</a:t>
            </a:r>
            <a:r>
              <a:rPr lang="en-GB" sz="2000" b="1" dirty="0" err="1">
                <a:latin typeface="+mn-lt"/>
              </a:rPr>
              <a:t>www.kcl.ac.uk</a:t>
            </a:r>
            <a:r>
              <a:rPr lang="en-GB" sz="2000" b="1" dirty="0">
                <a:latin typeface="+mn-lt"/>
              </a:rPr>
              <a:t>/assets/</a:t>
            </a:r>
            <a:r>
              <a:rPr lang="en-GB" sz="2000" b="1" dirty="0" err="1">
                <a:latin typeface="+mn-lt"/>
              </a:rPr>
              <a:t>policyzone</a:t>
            </a:r>
            <a:r>
              <a:rPr lang="en-GB" sz="2000" b="1" dirty="0">
                <a:latin typeface="+mn-lt"/>
              </a:rPr>
              <a:t>/</a:t>
            </a:r>
            <a:r>
              <a:rPr lang="en-GB" sz="2000" b="1" dirty="0" err="1">
                <a:latin typeface="+mn-lt"/>
              </a:rPr>
              <a:t>governancelegal</a:t>
            </a:r>
            <a:r>
              <a:rPr lang="en-GB" sz="2000" b="1" dirty="0">
                <a:latin typeface="+mn-lt"/>
              </a:rPr>
              <a:t>/academic-freedom-freedom-of-</a:t>
            </a:r>
            <a:r>
              <a:rPr lang="en-GB" sz="2000" b="1" dirty="0" err="1">
                <a:latin typeface="+mn-lt"/>
              </a:rPr>
              <a:t>expression.pdf</a:t>
            </a:r>
            <a:endParaRPr lang="en-GB" sz="2000" b="1" kern="0" dirty="0">
              <a:latin typeface="+mn-lt"/>
              <a:ea typeface="Calibri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4F8199F-AA66-708E-E710-68D382F17FA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01811" y="3604039"/>
            <a:ext cx="2181045" cy="21810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55927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842A69-4552-7D7D-B494-6EC0D22AC1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Our Governance Structur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EFF66FE-9B86-647B-7FCB-9E0F9511E65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95302" y="1368817"/>
            <a:ext cx="7772400" cy="54891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877964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029DCD56-CE88-1E3A-1F6F-AFCBF974DD71}"/>
              </a:ext>
            </a:extLst>
          </p:cNvPr>
          <p:cNvSpPr txBox="1">
            <a:spLocks/>
          </p:cNvSpPr>
          <p:nvPr/>
        </p:nvSpPr>
        <p:spPr>
          <a:xfrm>
            <a:off x="7273881" y="2780209"/>
            <a:ext cx="4665021" cy="186262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eaLnBrk="1" hangingPunct="1">
              <a:defRPr sz="2000" b="0">
                <a:solidFill>
                  <a:schemeClr val="bg1"/>
                </a:solidFill>
                <a:latin typeface="Wix Madefor Text" panose="020B0503020203020203" pitchFamily="34" charset="77"/>
                <a:ea typeface="+mn-ea"/>
                <a:cs typeface="Wix Madefor Text" panose="020B0503020203020203" pitchFamily="34" charset="77"/>
              </a:defRPr>
            </a:lvl1pPr>
            <a:lvl2pPr marL="277272" eaLnBrk="1" hangingPunct="1">
              <a:defRPr sz="2400">
                <a:latin typeface="Wix Madefor Text" panose="020B0503020203020203" pitchFamily="34" charset="77"/>
                <a:ea typeface="+mn-ea"/>
                <a:cs typeface="Wix Madefor Text" panose="020B0503020203020203" pitchFamily="34" charset="77"/>
              </a:defRPr>
            </a:lvl2pPr>
            <a:lvl3pPr marL="554541" eaLnBrk="1" hangingPunct="1">
              <a:defRPr sz="2133">
                <a:latin typeface="Wix Madefor Text" panose="020B0503020203020203" pitchFamily="34" charset="77"/>
                <a:ea typeface="+mn-ea"/>
                <a:cs typeface="Wix Madefor Text" panose="020B0503020203020203" pitchFamily="34" charset="77"/>
              </a:defRPr>
            </a:lvl3pPr>
            <a:lvl4pPr marL="831813" eaLnBrk="1" hangingPunct="1">
              <a:defRPr sz="1867">
                <a:latin typeface="Wix Madefor Text" panose="020B0503020203020203" pitchFamily="34" charset="77"/>
                <a:ea typeface="+mn-ea"/>
                <a:cs typeface="Wix Madefor Text" panose="020B0503020203020203" pitchFamily="34" charset="77"/>
              </a:defRPr>
            </a:lvl4pPr>
            <a:lvl5pPr marL="1109083" eaLnBrk="1" hangingPunct="1">
              <a:defRPr sz="1600">
                <a:latin typeface="Wix Madefor Text" panose="020B0503020203020203" pitchFamily="34" charset="77"/>
                <a:ea typeface="+mn-ea"/>
                <a:cs typeface="Wix Madefor Text" panose="020B0503020203020203" pitchFamily="34" charset="77"/>
              </a:defRPr>
            </a:lvl5pPr>
            <a:lvl6pPr marL="1386355" eaLnBrk="1" hangingPunct="1">
              <a:defRPr>
                <a:latin typeface="+mn-lt"/>
                <a:ea typeface="+mn-ea"/>
                <a:cs typeface="+mn-cs"/>
              </a:defRPr>
            </a:lvl6pPr>
            <a:lvl7pPr marL="1663624" eaLnBrk="1" hangingPunct="1">
              <a:defRPr>
                <a:latin typeface="+mn-lt"/>
                <a:ea typeface="+mn-ea"/>
                <a:cs typeface="+mn-cs"/>
              </a:defRPr>
            </a:lvl7pPr>
            <a:lvl8pPr marL="1940895" eaLnBrk="1" hangingPunct="1">
              <a:defRPr>
                <a:latin typeface="+mn-lt"/>
                <a:ea typeface="+mn-ea"/>
                <a:cs typeface="+mn-cs"/>
              </a:defRPr>
            </a:lvl8pPr>
            <a:lvl9pPr marL="2218166" eaLnBrk="1" hangingPunct="1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GB" sz="4800" kern="0" dirty="0"/>
              <a:t>How is it going?</a:t>
            </a:r>
          </a:p>
        </p:txBody>
      </p:sp>
    </p:spTree>
    <p:extLst>
      <p:ext uri="{BB962C8B-B14F-4D97-AF65-F5344CB8AC3E}">
        <p14:creationId xmlns:p14="http://schemas.microsoft.com/office/powerpoint/2010/main" val="1297521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5536386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trategy 2030 Master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2030_MASTER_v11" id="{6ACB1B39-B794-6148-8984-A03EDAFE053D}" vid="{2C4EB228-5C8B-FD47-A254-D094FFC7040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B253820B123F54F8D57D8ED6FDDE948" ma:contentTypeVersion="14" ma:contentTypeDescription="Create a new document." ma:contentTypeScope="" ma:versionID="3a7cbe71ab54a251bd68caadc9af5079">
  <xsd:schema xmlns:xsd="http://www.w3.org/2001/XMLSchema" xmlns:xs="http://www.w3.org/2001/XMLSchema" xmlns:p="http://schemas.microsoft.com/office/2006/metadata/properties" xmlns:ns1="http://schemas.microsoft.com/sharepoint/v3" xmlns:ns2="89def67e-5f40-42e6-8f98-c54d2d065f3a" xmlns:ns3="5682980f-ce93-42c5-96d3-79ca0ba0a66c" targetNamespace="http://schemas.microsoft.com/office/2006/metadata/properties" ma:root="true" ma:fieldsID="fdd2b36bbc753763b32df8645fce0539" ns1:_="" ns2:_="" ns3:_="">
    <xsd:import namespace="http://schemas.microsoft.com/sharepoint/v3"/>
    <xsd:import namespace="89def67e-5f40-42e6-8f98-c54d2d065f3a"/>
    <xsd:import namespace="5682980f-ce93-42c5-96d3-79ca0ba0a66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1:_ip_UnifiedCompliancePolicyProperties" minOccurs="0"/>
                <xsd:element ref="ns1:_ip_UnifiedCompliancePolicyUIAction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Location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2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13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9def67e-5f40-42e6-8f98-c54d2d065f3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731d7151-b795-48f9-9207-6285658e27a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7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dexed="true" ma:internalName="MediaServiceLocation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20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1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682980f-ce93-42c5-96d3-79ca0ba0a66c" elementFormDefault="qualified">
    <xsd:import namespace="http://schemas.microsoft.com/office/2006/documentManagement/types"/>
    <xsd:import namespace="http://schemas.microsoft.com/office/infopath/2007/PartnerControls"/>
    <xsd:element name="TaxCatchAll" ma:index="16" nillable="true" ma:displayName="Taxonomy Catch All Column" ma:hidden="true" ma:list="{9bd87627-0969-41c3-94ea-71f30812ea03}" ma:internalName="TaxCatchAll" ma:showField="CatchAllData" ma:web="5682980f-ce93-42c5-96d3-79ca0ba0a66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89def67e-5f40-42e6-8f98-c54d2d065f3a">
      <Terms xmlns="http://schemas.microsoft.com/office/infopath/2007/PartnerControls"/>
    </lcf76f155ced4ddcb4097134ff3c332f>
    <TaxCatchAll xmlns="5682980f-ce93-42c5-96d3-79ca0ba0a66c" xsi:nil="true"/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5264F748-83FA-47EC-8C5B-6C103F84B15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0FBE5CE-09D6-4BA0-B6BF-3657E8AEE3BD}">
  <ds:schemaRefs>
    <ds:schemaRef ds:uri="5682980f-ce93-42c5-96d3-79ca0ba0a66c"/>
    <ds:schemaRef ds:uri="89def67e-5f40-42e6-8f98-c54d2d065f3a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06050367-F2AE-4868-96A8-9D731A1FA9EB}">
  <ds:schemaRefs>
    <ds:schemaRef ds:uri="http://schemas.microsoft.com/office/infopath/2007/PartnerControls"/>
    <ds:schemaRef ds:uri="http://schemas.microsoft.com/office/2006/documentManagement/types"/>
    <ds:schemaRef ds:uri="http://purl.org/dc/elements/1.1/"/>
    <ds:schemaRef ds:uri="5682980f-ce93-42c5-96d3-79ca0ba0a66c"/>
    <ds:schemaRef ds:uri="http://schemas.microsoft.com/sharepoint/v3"/>
    <ds:schemaRef ds:uri="http://www.w3.org/XML/1998/namespace"/>
    <ds:schemaRef ds:uri="http://schemas.openxmlformats.org/package/2006/metadata/core-properties"/>
    <ds:schemaRef ds:uri="http://purl.org/dc/dcmitype/"/>
    <ds:schemaRef ds:uri="89def67e-5f40-42e6-8f98-c54d2d065f3a"/>
    <ds:schemaRef ds:uri="http://schemas.microsoft.com/office/2006/metadata/properties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trategy 2030 Master</Template>
  <TotalTime>17308</TotalTime>
  <Words>101</Words>
  <Application>Microsoft Macintosh PowerPoint</Application>
  <PresentationFormat>Widescreen</PresentationFormat>
  <Paragraphs>14</Paragraphs>
  <Slides>5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2" baseType="lpstr">
      <vt:lpstr>Aptos</vt:lpstr>
      <vt:lpstr>Arial</vt:lpstr>
      <vt:lpstr>Georgia</vt:lpstr>
      <vt:lpstr>Kings Caslon Display</vt:lpstr>
      <vt:lpstr>Wix Madefor Text</vt:lpstr>
      <vt:lpstr>Strategy 2030 Master</vt:lpstr>
      <vt:lpstr>think-cell Slide</vt:lpstr>
      <vt:lpstr>PowerPoint Presentation</vt:lpstr>
      <vt:lpstr>PowerPoint Presentation</vt:lpstr>
      <vt:lpstr>Our Governance Structure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Sasha Balan</dc:creator>
  <cp:lastModifiedBy>Rachel Mills</cp:lastModifiedBy>
  <cp:revision>9</cp:revision>
  <dcterms:created xsi:type="dcterms:W3CDTF">2026-01-19T10:21:53Z</dcterms:created>
  <dcterms:modified xsi:type="dcterms:W3CDTF">2026-05-03T13:19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  <property fmtid="{D5CDD505-2E9C-101B-9397-08002B2CF9AE}" pid="3" name="ContentTypeId">
    <vt:lpwstr>0x0101007B253820B123F54F8D57D8ED6FDDE948</vt:lpwstr>
  </property>
</Properties>
</file>